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359" r:id="rId2"/>
    <p:sldId id="1608" r:id="rId3"/>
    <p:sldId id="1649" r:id="rId4"/>
    <p:sldId id="286" r:id="rId5"/>
    <p:sldId id="1644" r:id="rId6"/>
    <p:sldId id="1640" r:id="rId7"/>
    <p:sldId id="1646" r:id="rId8"/>
    <p:sldId id="1663" r:id="rId9"/>
    <p:sldId id="1642" r:id="rId10"/>
    <p:sldId id="1668" r:id="rId11"/>
    <p:sldId id="1669" r:id="rId12"/>
    <p:sldId id="1670" r:id="rId13"/>
    <p:sldId id="1671" r:id="rId14"/>
    <p:sldId id="1672" r:id="rId15"/>
    <p:sldId id="1645" r:id="rId16"/>
    <p:sldId id="275" r:id="rId17"/>
  </p:sldIdLst>
  <p:sldSz cx="12192000" cy="6858000"/>
  <p:notesSz cx="6858000" cy="9144000"/>
  <p:embeddedFontLst>
    <p:embeddedFont>
      <p:font typeface="PT Sans" panose="020B0503020203020204" pitchFamily="34" charset="0"/>
      <p:regular r:id="rId20"/>
      <p:bold r:id="rId21"/>
      <p:italic r:id="rId22"/>
      <p:boldItalic r:id="rId23"/>
    </p:embeddedFont>
    <p:embeddedFont>
      <p:font typeface="Yu Gothic Light" panose="020B0300000000000000" pitchFamily="34" charset="-128"/>
      <p:regular r:id="rId24"/>
    </p:embeddedFont>
  </p:embeddedFontLst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-Layouts" id="{E0AC8B35-0F8B-41E5-82FA-68AC7D4C0D6E}">
          <p14:sldIdLst>
            <p14:sldId id="359"/>
            <p14:sldId id="1608"/>
            <p14:sldId id="1649"/>
            <p14:sldId id="286"/>
            <p14:sldId id="1644"/>
            <p14:sldId id="1640"/>
            <p14:sldId id="1646"/>
            <p14:sldId id="1663"/>
            <p14:sldId id="1642"/>
            <p14:sldId id="1668"/>
            <p14:sldId id="1669"/>
            <p14:sldId id="1670"/>
            <p14:sldId id="1671"/>
            <p14:sldId id="1672"/>
            <p14:sldId id="1645"/>
            <p14:sldId id="275"/>
          </p14:sldIdLst>
        </p14:section>
        <p14:section name="Folienbibliothek" id="{6794B3C1-7E0C-4E7A-BF51-910F8800D10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7BC7EB-F2C9-4CBD-B6B6-97267FDAA30E}" v="9" dt="2024-05-15T13:46:57.9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08" autoAdjust="0"/>
  </p:normalViewPr>
  <p:slideViewPr>
    <p:cSldViewPr snapToGrid="0" showGuides="1">
      <p:cViewPr varScale="1">
        <p:scale>
          <a:sx n="94" d="100"/>
          <a:sy n="94" d="100"/>
        </p:scale>
        <p:origin x="144" y="96"/>
      </p:cViewPr>
      <p:guideLst/>
    </p:cSldViewPr>
  </p:slideViewPr>
  <p:outlineViewPr>
    <p:cViewPr>
      <p:scale>
        <a:sx n="33" d="100"/>
        <a:sy n="33" d="100"/>
      </p:scale>
      <p:origin x="0" y="-366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5814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F9143AC-F275-4B8A-82F4-2F3CE0B8D3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E05DB6-3A22-4ED8-A2DF-FC87903C2A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3DFDD7-199D-4069-9EDC-AAFF40370A35}" type="datetimeFigureOut">
              <a:rPr lang="en-US" smtClean="0">
                <a:solidFill>
                  <a:schemeClr val="tx2"/>
                </a:solidFill>
              </a:rPr>
              <a:t>7/12/2024</a:t>
            </a:fld>
            <a:endParaRPr lang="en-US">
              <a:solidFill>
                <a:schemeClr val="tx2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5D274F-5773-4841-A866-E61D5BD5A8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8C93F0-B384-45A7-AFC2-7820B56144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883EB1-95C9-453E-A2EB-84A31EA1A953}" type="slidenum">
              <a:rPr lang="en-US" smtClean="0">
                <a:solidFill>
                  <a:schemeClr val="tx2"/>
                </a:solidFill>
              </a:rPr>
              <a:t>‹Nr.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2823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solidFill>
                  <a:schemeClr val="tx2"/>
                </a:solidFill>
              </a:defRPr>
            </a:lvl1pPr>
          </a:lstStyle>
          <a:p>
            <a:fld id="{B54ACF56-8AC0-413B-87D0-F58636EC0C94}" type="datetimeFigureOut">
              <a:rPr lang="de-DE" smtClean="0"/>
              <a:pPr/>
              <a:t>12.07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2821" y="800851"/>
            <a:ext cx="6232358" cy="3505702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12821" y="4648616"/>
            <a:ext cx="6232358" cy="385771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8389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48389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solidFill>
                  <a:schemeClr val="tx2"/>
                </a:solidFill>
              </a:defRPr>
            </a:lvl1pPr>
          </a:lstStyle>
          <a:p>
            <a:fld id="{7B6A1A71-1697-4AC4-91EE-DA2F6CEB7F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175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3FD6202-36F7-4094-8992-4EB845450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866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3FD6202-36F7-4094-8992-4EB845450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981FB6B-D507-4213-824B-18B17512BA73}"/>
              </a:ext>
            </a:extLst>
          </p:cNvPr>
          <p:cNvSpPr/>
          <p:nvPr userDrawn="1"/>
        </p:nvSpPr>
        <p:spPr>
          <a:xfrm>
            <a:off x="200437" y="1831107"/>
            <a:ext cx="6677018" cy="48151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DEF94761-1C3A-4242-B358-C791D08D47DE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6917C283-807D-408C-89DE-7E9157D6D85F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536B2866-E229-4EE3-9A83-7DA90A71AE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5070577 w 11791121"/>
              <a:gd name="connsiteY12" fmla="*/ 6434593 h 6434593"/>
              <a:gd name="connsiteX13" fmla="*/ 5176620 w 11791121"/>
              <a:gd name="connsiteY13" fmla="*/ 6383214 h 6434593"/>
              <a:gd name="connsiteX14" fmla="*/ 5529571 w 11791121"/>
              <a:gd name="connsiteY14" fmla="*/ 5888242 h 6434593"/>
              <a:gd name="connsiteX15" fmla="*/ 6441050 w 11791121"/>
              <a:gd name="connsiteY15" fmla="*/ 2405411 h 6434593"/>
              <a:gd name="connsiteX16" fmla="*/ 6139310 w 11791121"/>
              <a:gd name="connsiteY16" fmla="*/ 1927714 h 6434593"/>
              <a:gd name="connsiteX17" fmla="*/ 6025426 w 11791121"/>
              <a:gd name="connsiteY17" fmla="*/ 1935861 h 6434593"/>
              <a:gd name="connsiteX18" fmla="*/ 955068 w 11791121"/>
              <a:gd name="connsiteY18" fmla="*/ 2780263 h 6434593"/>
              <a:gd name="connsiteX19" fmla="*/ 68578 w 11791121"/>
              <a:gd name="connsiteY19" fmla="*/ 3514183 h 6434593"/>
              <a:gd name="connsiteX20" fmla="*/ 36064 w 11791121"/>
              <a:gd name="connsiteY20" fmla="*/ 3582576 h 6434593"/>
              <a:gd name="connsiteX21" fmla="*/ 0 w 11791121"/>
              <a:gd name="connsiteY21" fmla="*/ 366440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5070577" y="6434593"/>
                </a:lnTo>
                <a:lnTo>
                  <a:pt x="5176620" y="6383214"/>
                </a:lnTo>
                <a:cubicBezTo>
                  <a:pt x="5368553" y="6267717"/>
                  <a:pt x="5478604" y="6083888"/>
                  <a:pt x="5529571" y="5888242"/>
                </a:cubicBezTo>
                <a:cubicBezTo>
                  <a:pt x="5529571" y="5888242"/>
                  <a:pt x="6358189" y="2725022"/>
                  <a:pt x="6441050" y="2405411"/>
                </a:cubicBezTo>
                <a:cubicBezTo>
                  <a:pt x="6515856" y="2115394"/>
                  <a:pt x="6388254" y="1934133"/>
                  <a:pt x="6139310" y="1927714"/>
                </a:cubicBezTo>
                <a:cubicBezTo>
                  <a:pt x="6103747" y="1926798"/>
                  <a:pt x="6065707" y="1929449"/>
                  <a:pt x="6025426" y="1935861"/>
                </a:cubicBezTo>
                <a:cubicBezTo>
                  <a:pt x="5697924" y="1985842"/>
                  <a:pt x="1295722" y="2688195"/>
                  <a:pt x="955068" y="2780263"/>
                </a:cubicBezTo>
                <a:cubicBezTo>
                  <a:pt x="544705" y="2890746"/>
                  <a:pt x="276390" y="3101188"/>
                  <a:pt x="68578" y="3514183"/>
                </a:cubicBezTo>
                <a:cubicBezTo>
                  <a:pt x="58836" y="3533542"/>
                  <a:pt x="47959" y="3556456"/>
                  <a:pt x="36064" y="3582576"/>
                </a:cubicBezTo>
                <a:lnTo>
                  <a:pt x="0" y="36644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45185" y="3805389"/>
            <a:ext cx="5094302" cy="993092"/>
          </a:xfrm>
        </p:spPr>
        <p:txBody>
          <a:bodyPr vert="horz" anchor="b">
            <a:normAutofit/>
          </a:bodyPr>
          <a:lstStyle>
            <a:lvl1pPr algn="l" rtl="0">
              <a:lnSpc>
                <a:spcPct val="80000"/>
              </a:lnSpc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 der Präsentation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45183" y="4841551"/>
            <a:ext cx="5094301" cy="615553"/>
          </a:xfrm>
        </p:spPr>
        <p:txBody>
          <a:bodyPr>
            <a:noAutofit/>
          </a:bodyPr>
          <a:lstStyle>
            <a:lvl1pPr marL="0" indent="0" algn="l" rtl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5184" y="5851632"/>
            <a:ext cx="3320978" cy="369332"/>
          </a:xfrm>
        </p:spPr>
        <p:txBody>
          <a:bodyPr wrap="square">
            <a:noAutofit/>
          </a:bodyPr>
          <a:lstStyle>
            <a:lvl1pPr rtl="0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</a:t>
            </a:r>
          </a:p>
          <a:p>
            <a:pPr lvl="0"/>
            <a:r>
              <a:rPr lang="de-DE" noProof="0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3063180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D02009-4389-4113-A170-B981C2934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42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D02009-4389-4113-A170-B981C2934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5" y="1628775"/>
            <a:ext cx="5472113" cy="20875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463" y="1628775"/>
            <a:ext cx="5472112" cy="20875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B133476-BB35-4E82-AEA0-BC4A2B21AC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4005263"/>
            <a:ext cx="5472113" cy="2087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EDCBE7C-020C-4387-AB39-CC36D49FF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463" y="4005263"/>
            <a:ext cx="5472112" cy="2087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0B2E5FE3-E275-4F4C-ADAE-8FC6E7CCF3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52646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  <p15:guide id="3" orient="horz" pos="2341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219E32-A4A9-4B90-AB38-6F3A9D18D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34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B219E32-A4A9-4B90-AB38-6F3A9D18D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463" y="1628775"/>
            <a:ext cx="5472112" cy="4464050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C17A6F04-8A7D-4C5B-8D8E-5CABE03CD9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1967172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6613608-BF8A-428D-AB6E-2601935B97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926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6613608-BF8A-428D-AB6E-2601935B9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40232" y="211702"/>
            <a:ext cx="5551327" cy="6434592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5472109" cy="886397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e-DE" noProof="0" dirty="0"/>
              <a:t>Headline, max. 2 Zeilen, </a:t>
            </a:r>
            <a:br>
              <a:rPr lang="de-DE" noProof="0" dirty="0"/>
            </a:br>
            <a:r>
              <a:rPr lang="de-DE" noProof="0" dirty="0"/>
              <a:t>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5" y="2004369"/>
            <a:ext cx="5472111" cy="408845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EEF9455-781B-4CF9-916F-894FF87162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51016"/>
            <a:ext cx="5472113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930178F5-9D96-41A2-A823-8F5177131B7B}"/>
              </a:ext>
            </a:extLst>
          </p:cNvPr>
          <p:cNvSpPr txBox="1"/>
          <p:nvPr userDrawn="1"/>
        </p:nvSpPr>
        <p:spPr bwMode="gray">
          <a:xfrm>
            <a:off x="479425" y="6418362"/>
            <a:ext cx="1705595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rtl="0"/>
            <a:r>
              <a:rPr lang="de-DE" noProof="0" dirty="0"/>
              <a:t>Fonds Finanz. Mein Maklerpool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A099650-CDA9-49E5-AF8A-B436FE2753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5472109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0044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125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6865E4C-C203-442C-A09D-E38161EC2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32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6865E4C-C203-442C-A09D-E38161EC2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425" y="1628775"/>
            <a:ext cx="5472112" cy="4464050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40464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2B43CB5-80C1-4207-BE73-CF0AFCAEF0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809040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AEA9E99-8C39-4BCD-BF1E-F1FC24387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961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AEA9E99-8C39-4BCD-BF1E-F1FC24387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0439" y="211702"/>
            <a:ext cx="5551327" cy="643459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</a:t>
            </a:r>
            <a:br>
              <a:rPr lang="de-DE" noProof="0" dirty="0"/>
            </a:br>
            <a:r>
              <a:rPr lang="de-DE" noProof="0" dirty="0"/>
              <a:t>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0463" y="739916"/>
            <a:ext cx="5472109" cy="886397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e-DE" noProof="0" dirty="0"/>
              <a:t>Headline, max. 2 Zeilen, </a:t>
            </a:r>
            <a:br>
              <a:rPr lang="de-DE" noProof="0" dirty="0"/>
            </a:br>
            <a:r>
              <a:rPr lang="de-DE" noProof="0" dirty="0"/>
              <a:t>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40463" y="2004369"/>
            <a:ext cx="5472111" cy="408845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EEF9455-781B-4CF9-916F-894FF87162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463" y="651016"/>
            <a:ext cx="5472113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275ED778-F2F8-4622-906C-9805DB881A0C}"/>
              </a:ext>
            </a:extLst>
          </p:cNvPr>
          <p:cNvSpPr txBox="1"/>
          <p:nvPr userDrawn="1"/>
        </p:nvSpPr>
        <p:spPr bwMode="gray">
          <a:xfrm>
            <a:off x="11252200" y="6418362"/>
            <a:ext cx="460375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r" rtl="0"/>
            <a:fld id="{9CABAB34-EED9-4944-9833-2D0472E7C8C0}" type="slidenum">
              <a:rPr lang="de-DE" noProof="0" smtClean="0"/>
              <a:pPr lvl="0" algn="r" rtl="0"/>
              <a:t>‹Nr.›</a:t>
            </a:fld>
            <a:endParaRPr lang="de-DE" noProof="0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0515820E-F857-4B19-93B7-9FDE3F64BB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0461" y="156260"/>
            <a:ext cx="5472114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2441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125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0439" y="211702"/>
            <a:ext cx="11791122" cy="643459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8147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B620FCE-058D-49CE-B32D-3D4106022B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89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B620FCE-058D-49CE-B32D-3D4106022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9" y="1628775"/>
            <a:ext cx="11791122" cy="5017521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C0C3B27-2859-4DC8-A140-5C945AC6E7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124823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8331A3B-A55C-45EB-BAEE-67A12C40B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324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8331A3B-A55C-45EB-BAEE-67A12C40B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9C7CB0C7-F5D2-4463-A173-5F754804B155}"/>
              </a:ext>
            </a:extLst>
          </p:cNvPr>
          <p:cNvSpPr/>
          <p:nvPr userDrawn="1"/>
        </p:nvSpPr>
        <p:spPr>
          <a:xfrm>
            <a:off x="200437" y="1070044"/>
            <a:ext cx="4809308" cy="38866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2F4818C-D163-4B84-8DEF-E288276C2D7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0 w 11791121"/>
              <a:gd name="connsiteY0" fmla="*/ 0 h 6434593"/>
              <a:gd name="connsiteX1" fmla="*/ 11791121 w 11791121"/>
              <a:gd name="connsiteY1" fmla="*/ 0 h 6434593"/>
              <a:gd name="connsiteX2" fmla="*/ 11791121 w 11791121"/>
              <a:gd name="connsiteY2" fmla="*/ 6434593 h 6434593"/>
              <a:gd name="connsiteX3" fmla="*/ 0 w 11791121"/>
              <a:gd name="connsiteY3" fmla="*/ 6434593 h 6434593"/>
              <a:gd name="connsiteX4" fmla="*/ 0 w 11791121"/>
              <a:gd name="connsiteY4" fmla="*/ 4645188 h 6434593"/>
              <a:gd name="connsiteX5" fmla="*/ 11599 w 11791121"/>
              <a:gd name="connsiteY5" fmla="*/ 4644764 h 6434593"/>
              <a:gd name="connsiteX6" fmla="*/ 3284778 w 11791121"/>
              <a:gd name="connsiteY6" fmla="*/ 4525507 h 6434593"/>
              <a:gd name="connsiteX7" fmla="*/ 3901828 w 11791121"/>
              <a:gd name="connsiteY7" fmla="*/ 4044782 h 6434593"/>
              <a:gd name="connsiteX8" fmla="*/ 4612155 w 11791121"/>
              <a:gd name="connsiteY8" fmla="*/ 1330578 h 6434593"/>
              <a:gd name="connsiteX9" fmla="*/ 4377006 w 11791121"/>
              <a:gd name="connsiteY9" fmla="*/ 958305 h 6434593"/>
              <a:gd name="connsiteX10" fmla="*/ 4288256 w 11791121"/>
              <a:gd name="connsiteY10" fmla="*/ 964653 h 6434593"/>
              <a:gd name="connsiteX11" fmla="*/ 336873 w 11791121"/>
              <a:gd name="connsiteY11" fmla="*/ 1622704 h 6434593"/>
              <a:gd name="connsiteX12" fmla="*/ 20448 w 11791121"/>
              <a:gd name="connsiteY12" fmla="*/ 1756646 h 6434593"/>
              <a:gd name="connsiteX13" fmla="*/ 0 w 11791121"/>
              <a:gd name="connsiteY13" fmla="*/ 177139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791121" h="6434593"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0" y="6434593"/>
                </a:lnTo>
                <a:lnTo>
                  <a:pt x="0" y="4645188"/>
                </a:lnTo>
                <a:lnTo>
                  <a:pt x="11599" y="4644764"/>
                </a:lnTo>
                <a:cubicBezTo>
                  <a:pt x="1244017" y="4599639"/>
                  <a:pt x="3284778" y="4525507"/>
                  <a:pt x="3284778" y="4525507"/>
                </a:cubicBezTo>
                <a:cubicBezTo>
                  <a:pt x="3656854" y="4509107"/>
                  <a:pt x="3838279" y="4288731"/>
                  <a:pt x="3901828" y="4044782"/>
                </a:cubicBezTo>
                <a:cubicBezTo>
                  <a:pt x="3901828" y="4044782"/>
                  <a:pt x="4547580" y="1579653"/>
                  <a:pt x="4612155" y="1330578"/>
                </a:cubicBezTo>
                <a:cubicBezTo>
                  <a:pt x="4670452" y="1104565"/>
                  <a:pt x="4571010" y="963307"/>
                  <a:pt x="4377006" y="958305"/>
                </a:cubicBezTo>
                <a:cubicBezTo>
                  <a:pt x="4349291" y="957589"/>
                  <a:pt x="4319646" y="959656"/>
                  <a:pt x="4288256" y="964653"/>
                </a:cubicBezTo>
                <a:cubicBezTo>
                  <a:pt x="4033028" y="1003603"/>
                  <a:pt x="602348" y="1550954"/>
                  <a:pt x="336873" y="1622704"/>
                </a:cubicBezTo>
                <a:cubicBezTo>
                  <a:pt x="216948" y="1654992"/>
                  <a:pt x="112590" y="1698233"/>
                  <a:pt x="20448" y="1756646"/>
                </a:cubicBezTo>
                <a:lnTo>
                  <a:pt x="0" y="177139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DFD521-41B3-45E2-8B3A-5BB64D5E81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424" y="2248786"/>
            <a:ext cx="3528527" cy="1976400"/>
          </a:xfrm>
        </p:spPr>
        <p:txBody>
          <a:bodyPr anchor="ctr"/>
          <a:lstStyle>
            <a:lvl1pPr rtl="0">
              <a:lnSpc>
                <a:spcPct val="90000"/>
              </a:lnSpc>
              <a:defRPr sz="3600" b="0">
                <a:solidFill>
                  <a:schemeClr val="accent1"/>
                </a:solidFill>
              </a:defRPr>
            </a:lvl1pPr>
            <a:lvl2pPr rtl="0">
              <a:lnSpc>
                <a:spcPct val="90000"/>
              </a:lnSpc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noProof="0" dirty="0"/>
              <a:t>Kapitel 01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  <a:p>
            <a:pPr lvl="1"/>
            <a:r>
              <a:rPr lang="de-DE" noProof="0" dirty="0"/>
              <a:t>PT Sans, 16pt, max. 3 Zeilen</a:t>
            </a:r>
            <a:br>
              <a:rPr lang="de-DE" noProof="0" dirty="0"/>
            </a:b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 </a:t>
            </a:r>
            <a:r>
              <a:rPr lang="de-DE" noProof="0" dirty="0" err="1"/>
              <a:t>consectetuer</a:t>
            </a:r>
            <a:r>
              <a:rPr lang="de-DE" noProof="0" dirty="0"/>
              <a:t> </a:t>
            </a:r>
            <a:r>
              <a:rPr lang="de-DE" noProof="0" dirty="0" err="1"/>
              <a:t>adipiscing</a:t>
            </a:r>
            <a:r>
              <a:rPr lang="de-DE" noProof="0" dirty="0"/>
              <a:t> </a:t>
            </a:r>
            <a:r>
              <a:rPr lang="de-DE" noProof="0" dirty="0" err="1"/>
              <a:t>elit</a:t>
            </a:r>
            <a:r>
              <a:rPr lang="de-DE" noProof="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340327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775A9F-ED78-4A86-8A2D-1403D2847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435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775A9F-ED78-4A86-8A2D-1403D2847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8" y="211702"/>
            <a:ext cx="11791122" cy="3628800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4657741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D5D8701-14A1-4FDC-8292-45F87C5FCA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4572304"/>
            <a:ext cx="11233150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D1346D-ED76-4A18-B8B5-D24CB58AF6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5354161"/>
            <a:ext cx="11233149" cy="73866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64523F55-AB86-48AA-9220-67566EF4D1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074085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3723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w/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A298B5A-E311-4ADE-8FD7-6130EFC66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04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A298B5A-E311-4ADE-8FD7-6130EFC66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8" y="211702"/>
            <a:ext cx="11791122" cy="3628800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4074085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D1346D-ED76-4A18-B8B5-D24CB58AF6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4727643"/>
            <a:ext cx="11233149" cy="136518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32522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3FD6202-36F7-4094-8992-4EB845450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731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3FD6202-36F7-4094-8992-4EB845450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981FB6B-D507-4213-824B-18B17512BA73}"/>
              </a:ext>
            </a:extLst>
          </p:cNvPr>
          <p:cNvSpPr/>
          <p:nvPr userDrawn="1"/>
        </p:nvSpPr>
        <p:spPr>
          <a:xfrm>
            <a:off x="200437" y="1831107"/>
            <a:ext cx="6677018" cy="48151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C606F1D-77B6-4ACE-B679-DF41E6C37F4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5070577 w 11791121"/>
              <a:gd name="connsiteY12" fmla="*/ 6434593 h 6434593"/>
              <a:gd name="connsiteX13" fmla="*/ 5176620 w 11791121"/>
              <a:gd name="connsiteY13" fmla="*/ 6383214 h 6434593"/>
              <a:gd name="connsiteX14" fmla="*/ 5529571 w 11791121"/>
              <a:gd name="connsiteY14" fmla="*/ 5888242 h 6434593"/>
              <a:gd name="connsiteX15" fmla="*/ 6441050 w 11791121"/>
              <a:gd name="connsiteY15" fmla="*/ 2405411 h 6434593"/>
              <a:gd name="connsiteX16" fmla="*/ 6139310 w 11791121"/>
              <a:gd name="connsiteY16" fmla="*/ 1927714 h 6434593"/>
              <a:gd name="connsiteX17" fmla="*/ 6025426 w 11791121"/>
              <a:gd name="connsiteY17" fmla="*/ 1935861 h 6434593"/>
              <a:gd name="connsiteX18" fmla="*/ 955068 w 11791121"/>
              <a:gd name="connsiteY18" fmla="*/ 2780263 h 6434593"/>
              <a:gd name="connsiteX19" fmla="*/ 68578 w 11791121"/>
              <a:gd name="connsiteY19" fmla="*/ 3514183 h 6434593"/>
              <a:gd name="connsiteX20" fmla="*/ 36064 w 11791121"/>
              <a:gd name="connsiteY20" fmla="*/ 3582576 h 6434593"/>
              <a:gd name="connsiteX21" fmla="*/ 0 w 11791121"/>
              <a:gd name="connsiteY21" fmla="*/ 366440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5070577" y="6434593"/>
                </a:lnTo>
                <a:lnTo>
                  <a:pt x="5176620" y="6383214"/>
                </a:lnTo>
                <a:cubicBezTo>
                  <a:pt x="5368553" y="6267717"/>
                  <a:pt x="5478604" y="6083888"/>
                  <a:pt x="5529571" y="5888242"/>
                </a:cubicBezTo>
                <a:cubicBezTo>
                  <a:pt x="5529571" y="5888242"/>
                  <a:pt x="6358189" y="2725022"/>
                  <a:pt x="6441050" y="2405411"/>
                </a:cubicBezTo>
                <a:cubicBezTo>
                  <a:pt x="6515856" y="2115394"/>
                  <a:pt x="6388254" y="1934133"/>
                  <a:pt x="6139310" y="1927714"/>
                </a:cubicBezTo>
                <a:cubicBezTo>
                  <a:pt x="6103747" y="1926798"/>
                  <a:pt x="6065707" y="1929449"/>
                  <a:pt x="6025426" y="1935861"/>
                </a:cubicBezTo>
                <a:cubicBezTo>
                  <a:pt x="5697924" y="1985842"/>
                  <a:pt x="1295722" y="2688195"/>
                  <a:pt x="955068" y="2780263"/>
                </a:cubicBezTo>
                <a:cubicBezTo>
                  <a:pt x="544705" y="2890746"/>
                  <a:pt x="276390" y="3101188"/>
                  <a:pt x="68578" y="3514183"/>
                </a:cubicBezTo>
                <a:cubicBezTo>
                  <a:pt x="58836" y="3533542"/>
                  <a:pt x="47959" y="3556456"/>
                  <a:pt x="36064" y="3582576"/>
                </a:cubicBezTo>
                <a:lnTo>
                  <a:pt x="0" y="36644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45185" y="3805389"/>
            <a:ext cx="5094302" cy="993092"/>
          </a:xfrm>
        </p:spPr>
        <p:txBody>
          <a:bodyPr vert="horz" anchor="b">
            <a:normAutofit/>
          </a:bodyPr>
          <a:lstStyle>
            <a:lvl1pPr algn="l" rtl="0">
              <a:lnSpc>
                <a:spcPct val="80000"/>
              </a:lnSpc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 der Präsentation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45183" y="4841551"/>
            <a:ext cx="5094301" cy="615553"/>
          </a:xfrm>
        </p:spPr>
        <p:txBody>
          <a:bodyPr>
            <a:noAutofit/>
          </a:bodyPr>
          <a:lstStyle>
            <a:lvl1pPr marL="0" indent="0" algn="l" rtl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5184" y="5851632"/>
            <a:ext cx="3320978" cy="369332"/>
          </a:xfrm>
        </p:spPr>
        <p:txBody>
          <a:bodyPr wrap="square">
            <a:noAutofit/>
          </a:bodyPr>
          <a:lstStyle>
            <a:lvl1pPr rtl="0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</a:t>
            </a:r>
          </a:p>
          <a:p>
            <a:pPr lvl="0"/>
            <a:r>
              <a:rPr lang="de-DE" noProof="0" dirty="0"/>
              <a:t>Ort, Datum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9D7E1AF7-1BA0-4574-BB3F-D43E3176C63B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8671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F92421B-EF6A-44D9-A85C-C5E6F2918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F92421B-EF6A-44D9-A85C-C5E6F2918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9" y="3033713"/>
            <a:ext cx="11791122" cy="361188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603CA65-3897-4F2C-B57C-CE1CC9AC6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1628775"/>
            <a:ext cx="11233150" cy="11160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24C9ED1-541A-43F7-B3C7-0D315A80B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29465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3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gen und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776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B8D31B4D-04C4-41BC-AD10-705DEFBC0106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F22BA67-763D-43EA-AA83-2A30A79049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212807"/>
            <a:ext cx="4837814" cy="450573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Haben Sie noch Fragen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4" y="4775921"/>
            <a:ext cx="4837813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Ihr persönlicher Ansprechpartner </a:t>
            </a:r>
            <a:br>
              <a:rPr lang="de-DE" noProof="0" dirty="0"/>
            </a:br>
            <a:r>
              <a:rPr lang="de-DE" noProof="0" dirty="0"/>
              <a:t>steht ihnen sehr gerne zur Verfügung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5" y="5521076"/>
            <a:ext cx="4837813" cy="553998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Informationen über die einfache und schnelle Anbindung </a:t>
            </a:r>
            <a:br>
              <a:rPr lang="de-DE" noProof="0" dirty="0"/>
            </a:br>
            <a:r>
              <a:rPr lang="de-DE" noProof="0" dirty="0"/>
              <a:t>als Makler bei der Fonds Finanz finden Sie unter </a:t>
            </a:r>
            <a:br>
              <a:rPr lang="de-DE" noProof="0" dirty="0"/>
            </a:br>
            <a:r>
              <a:rPr lang="de-DE" noProof="0" dirty="0"/>
              <a:t>www.fondsfinanz.de/meine-fonds-finanz/anbindung 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247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gen und Ansprechpartner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290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58F47DBE-6B1E-4273-AFF2-5A76F3D999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212807"/>
            <a:ext cx="4837817" cy="450573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Haben Sie noch Fragen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4" y="4775921"/>
            <a:ext cx="4837816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Ihr persönlicher Ansprechpartner </a:t>
            </a:r>
            <a:br>
              <a:rPr lang="de-DE" noProof="0" dirty="0"/>
            </a:br>
            <a:r>
              <a:rPr lang="de-DE" noProof="0" dirty="0"/>
              <a:t>steht ihnen sehr gerne zur Verfügung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521076"/>
            <a:ext cx="4837816" cy="553998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Informationen über die einfache und schnelle Anbindung </a:t>
            </a:r>
            <a:br>
              <a:rPr lang="de-DE" noProof="0" dirty="0"/>
            </a:br>
            <a:r>
              <a:rPr lang="de-DE" noProof="0" dirty="0"/>
              <a:t>als Makler bei der Fonds Finanz finden Sie unter </a:t>
            </a:r>
            <a:br>
              <a:rPr lang="de-DE" noProof="0" dirty="0"/>
            </a:br>
            <a:r>
              <a:rPr lang="de-DE" noProof="0" dirty="0"/>
              <a:t>www.fondsfinanz.de/meine-fonds-finanz/anbindung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016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62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2F9C7F57-C5DA-438B-98AD-BDE6CF7FE9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B8D31B4D-04C4-41BC-AD10-705DEFBC0106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182990"/>
            <a:ext cx="4332989" cy="893771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Schlussformulierung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5" y="5177005"/>
            <a:ext cx="4332988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903220"/>
            <a:ext cx="4332988" cy="184666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 | Ort, Datum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10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88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729B54F-BB09-4D20-A088-ACFFACA8D9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182990"/>
            <a:ext cx="4332989" cy="893771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Schlussformulierung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5" y="5177005"/>
            <a:ext cx="4332988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903220"/>
            <a:ext cx="4332988" cy="184666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 | Ort, Datum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342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94971B2-B5F1-49A8-8123-95C5AB3DE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020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94971B2-B5F1-49A8-8123-95C5AB3DE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EA96E3C1-04A4-4296-B542-BED3C359A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PT Sans, 32 pt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D784400-AA91-4681-98B9-E68A8CB83D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200188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31" userDrawn="1">
          <p15:clr>
            <a:srgbClr val="FBAE40"/>
          </p15:clr>
        </p15:guide>
        <p15:guide id="3" pos="374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>
            <a:extLst>
              <a:ext uri="{FF2B5EF4-FFF2-40B4-BE49-F238E27FC236}">
                <a16:creationId xmlns:a16="http://schemas.microsoft.com/office/drawing/2014/main" id="{2718C1B8-1E1E-4C0C-BD59-A98CD2453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65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7" name="Objekt 36" hidden="1">
                        <a:extLst>
                          <a:ext uri="{FF2B5EF4-FFF2-40B4-BE49-F238E27FC236}">
                            <a16:creationId xmlns:a16="http://schemas.microsoft.com/office/drawing/2014/main" id="{2718C1B8-1E1E-4C0C-BD59-A98CD2453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9C5103-F38E-4413-AAC1-87B9047233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628773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59DEF56-14CF-449A-94AD-85B75CA3CE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8867" y="1628773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52A141B-2233-4A9B-99C4-AD50E3FD1E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53133" y="1628773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1005840"/>
              <a:gd name="connsiteY0" fmla="*/ 0 h 982800"/>
              <a:gd name="connsiteX1" fmla="*/ 0 w 1005840"/>
              <a:gd name="connsiteY1" fmla="*/ 982800 h 982800"/>
              <a:gd name="connsiteX2" fmla="*/ 0 w 1005840"/>
              <a:gd name="connsiteY2" fmla="*/ 0 h 982800"/>
              <a:gd name="connsiteX3" fmla="*/ 1005840 w 1005840"/>
              <a:gd name="connsiteY3" fmla="*/ 91440 h 982800"/>
              <a:gd name="connsiteX0" fmla="*/ 914400 w 914400"/>
              <a:gd name="connsiteY0" fmla="*/ 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8780CD-F0BF-4D27-A6C0-87778FF439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6575" y="1628773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10B8462-7132-48D5-8BB8-C89F20A115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789787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5B1449D-B7ED-411F-9785-D2F1660F47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18867" y="2789787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2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4C3BC5-184E-4930-8808-679E2194B2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953133" y="2789787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982800 h 1074240"/>
              <a:gd name="connsiteX1" fmla="*/ 0 w 1005840"/>
              <a:gd name="connsiteY1" fmla="*/ 982800 h 1074240"/>
              <a:gd name="connsiteX2" fmla="*/ 0 w 1005840"/>
              <a:gd name="connsiteY2" fmla="*/ 0 h 1074240"/>
              <a:gd name="connsiteX3" fmla="*/ 914400 w 1005840"/>
              <a:gd name="connsiteY3" fmla="*/ 0 h 1074240"/>
              <a:gd name="connsiteX4" fmla="*/ 1005840 w 1005840"/>
              <a:gd name="connsiteY4" fmla="*/ 1074240 h 1074240"/>
              <a:gd name="connsiteX0" fmla="*/ 914400 w 914400"/>
              <a:gd name="connsiteY0" fmla="*/ 98280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3" fmla="*/ 914400 w 914400"/>
              <a:gd name="connsiteY3" fmla="*/ 0 h 982800"/>
              <a:gd name="connsiteX0" fmla="*/ 0 w 914400"/>
              <a:gd name="connsiteY0" fmla="*/ 982800 h 982800"/>
              <a:gd name="connsiteX1" fmla="*/ 0 w 914400"/>
              <a:gd name="connsiteY1" fmla="*/ 0 h 982800"/>
              <a:gd name="connsiteX2" fmla="*/ 91440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F22F542-75A0-4EDD-87E0-CF155EE082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16575" y="2789787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DC4479D-A6C8-45C5-8064-4EFEFBA922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3950800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F5C89F06-295E-46AE-9896-B2481771B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18867" y="3950800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3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7EC6528-B191-4481-94DB-AF14CE7797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953133" y="3950800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1005840"/>
              <a:gd name="connsiteY0" fmla="*/ 0 h 982800"/>
              <a:gd name="connsiteX1" fmla="*/ 0 w 1005840"/>
              <a:gd name="connsiteY1" fmla="*/ 982800 h 982800"/>
              <a:gd name="connsiteX2" fmla="*/ 0 w 1005840"/>
              <a:gd name="connsiteY2" fmla="*/ 0 h 982800"/>
              <a:gd name="connsiteX3" fmla="*/ 1005840 w 1005840"/>
              <a:gd name="connsiteY3" fmla="*/ 91440 h 982800"/>
              <a:gd name="connsiteX0" fmla="*/ 914400 w 914400"/>
              <a:gd name="connsiteY0" fmla="*/ 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436A7174-431F-4FC7-81B2-908D53A79FA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16575" y="3950800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ACEB4442-93E3-4113-82F0-379B3D573B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5111812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0FD0B222-6C2F-41CA-A1EF-4F2D0C1CEF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18867" y="5111812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4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8DD0AAD8-FE46-4BA8-9150-37243A05671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953133" y="5111812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914400"/>
              <a:gd name="connsiteY0" fmla="*/ 0 h 982800"/>
              <a:gd name="connsiteX1" fmla="*/ 914400 w 914400"/>
              <a:gd name="connsiteY1" fmla="*/ 982800 h 982800"/>
              <a:gd name="connsiteX2" fmla="*/ 0 w 914400"/>
              <a:gd name="connsiteY2" fmla="*/ 982800 h 982800"/>
              <a:gd name="connsiteX3" fmla="*/ 0 w 914400"/>
              <a:gd name="connsiteY3" fmla="*/ 0 h 982800"/>
              <a:gd name="connsiteX0" fmla="*/ 914400 w 914400"/>
              <a:gd name="connsiteY0" fmla="*/ 98280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DE14BFEB-E5B8-478E-A748-A400465F36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6575" y="5111812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C5AC341-043C-4F54-B808-AF64264746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585951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31" userDrawn="1">
          <p15:clr>
            <a:srgbClr val="FBAE40"/>
          </p15:clr>
        </p15:guide>
        <p15:guide id="3" pos="374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anz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EE989DB-631D-48A2-B7FD-2053B3992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77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EE989DB-631D-48A2-B7FD-2053B3992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11233152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97FE522-04A1-4E37-A95E-F22176DC98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283291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ECF26CE-A90D-4DC6-A6FE-CF4FEFC139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339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ECF26CE-A90D-4DC6-A6FE-CF4FEFC13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46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3FB1DB9-509A-49AA-9464-128B7899BF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1315763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00F4F25-C7EB-4459-B9D7-0BE7CF6FB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8146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00F4F25-C7EB-4459-B9D7-0BE7CF6FB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9400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B133476-BB35-4E82-AEA0-BC4A2B21AC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59375" y="1628775"/>
            <a:ext cx="3553199" cy="446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202C7ADC-DFA4-4CC5-BA95-5E94CCEF1C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75114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4" userDrawn="1">
          <p15:clr>
            <a:srgbClr val="FBAE40"/>
          </p15:clr>
        </p15:guide>
        <p15:guide id="2" pos="2718" userDrawn="1">
          <p15:clr>
            <a:srgbClr val="FBAE40"/>
          </p15:clr>
        </p15:guide>
        <p15:guide id="3" pos="4962" userDrawn="1">
          <p15:clr>
            <a:srgbClr val="FBAE40"/>
          </p15:clr>
        </p15:guide>
        <p15:guide id="4" pos="513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afik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0ACD0F2-17D0-4B5D-B6D0-73C57636D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94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0ACD0F2-17D0-4B5D-B6D0-73C57636D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159987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F21509B-0FE9-4C4B-AC06-361424CF15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775"/>
            <a:ext cx="7397750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8590AFB-8534-49C9-BD32-979ADCE711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217898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962" userDrawn="1">
          <p15:clr>
            <a:srgbClr val="FBAE40"/>
          </p15:clr>
        </p15:guide>
        <p15:guide id="4" pos="513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anz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A788FB1-B28B-48C2-8579-968B607E54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82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A788FB1-B28B-48C2-8579-968B607E5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F21509B-0FE9-4C4B-AC06-361424CF15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775"/>
            <a:ext cx="11233150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ED2F4F4-79E8-4D58-B999-0AB453F3A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85100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336D8BB-6610-4C02-AECC-7FD574E81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3356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06" imgH="306" progId="TCLayout.ActiveDocument.1">
                  <p:embed/>
                </p:oleObj>
              </mc:Choice>
              <mc:Fallback>
                <p:oleObj name="think-cell Folie" r:id="rId27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336D8BB-6610-4C02-AECC-7FD574E81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8137288-D4DD-47A0-A5A2-9B21E0843F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739916"/>
            <a:ext cx="11233150" cy="4431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8DB32B-83D1-4D46-9114-9A1546EDEC8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628775"/>
            <a:ext cx="1123315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E75EBC2-3978-4F7E-B8CE-2B0C536A964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51016"/>
            <a:ext cx="11233150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D3806088-DA19-440A-84FC-46E3F2E238FC}"/>
              </a:ext>
            </a:extLst>
          </p:cNvPr>
          <p:cNvSpPr txBox="1"/>
          <p:nvPr userDrawn="1"/>
        </p:nvSpPr>
        <p:spPr bwMode="gray">
          <a:xfrm>
            <a:off x="479425" y="6418362"/>
            <a:ext cx="1705595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rtl="0"/>
            <a:r>
              <a:rPr lang="de-DE" noProof="0" dirty="0"/>
              <a:t>Fonds Finanz. Mein Maklerpoo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4B55C68-02BC-4E32-9769-089A978EA39B}"/>
              </a:ext>
            </a:extLst>
          </p:cNvPr>
          <p:cNvSpPr txBox="1"/>
          <p:nvPr userDrawn="1"/>
        </p:nvSpPr>
        <p:spPr bwMode="gray">
          <a:xfrm>
            <a:off x="11252200" y="6418362"/>
            <a:ext cx="460375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r" rtl="0"/>
            <a:fld id="{9CABAB34-EED9-4944-9833-2D0472E7C8C0}" type="slidenum">
              <a:rPr lang="de-DE" noProof="0" smtClean="0"/>
              <a:pPr lvl="0" algn="r"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6528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50" r:id="rId3"/>
    <p:sldLayoutId id="2147483669" r:id="rId4"/>
    <p:sldLayoutId id="2147483654" r:id="rId5"/>
    <p:sldLayoutId id="2147483653" r:id="rId6"/>
    <p:sldLayoutId id="2147483652" r:id="rId7"/>
    <p:sldLayoutId id="2147483655" r:id="rId8"/>
    <p:sldLayoutId id="2147483656" r:id="rId9"/>
    <p:sldLayoutId id="2147483651" r:id="rId10"/>
    <p:sldLayoutId id="2147483657" r:id="rId11"/>
    <p:sldLayoutId id="2147483659" r:id="rId12"/>
    <p:sldLayoutId id="2147483658" r:id="rId13"/>
    <p:sldLayoutId id="2147483660" r:id="rId14"/>
    <p:sldLayoutId id="2147483661" r:id="rId15"/>
    <p:sldLayoutId id="2147483662" r:id="rId16"/>
    <p:sldLayoutId id="2147483663" r:id="rId17"/>
    <p:sldLayoutId id="2147483664" r:id="rId18"/>
    <p:sldLayoutId id="2147483668" r:id="rId19"/>
    <p:sldLayoutId id="2147483665" r:id="rId20"/>
    <p:sldLayoutId id="2147483673" r:id="rId21"/>
    <p:sldLayoutId id="2147483674" r:id="rId22"/>
    <p:sldLayoutId id="2147483666" r:id="rId23"/>
    <p:sldLayoutId id="2147483672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10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12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302" userDrawn="1">
          <p15:clr>
            <a:srgbClr val="FBAE40"/>
          </p15:clr>
        </p15:guide>
        <p15:guide id="5" pos="7378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  <p15:guide id="7" orient="horz" pos="4140" userDrawn="1">
          <p15:clr>
            <a:srgbClr val="FBAE40"/>
          </p15:clr>
        </p15:guide>
        <p15:guide id="8" orient="horz" pos="754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30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7.xml"/><Relationship Id="rId5" Type="http://schemas.openxmlformats.org/officeDocument/2006/relationships/image" Target="../media/image26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8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511C94C-D050-4303-BD01-EB350D9CF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389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511C94C-D050-4303-BD01-EB350D9C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CC24C50A-6133-4997-BD17-338D41E409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5185" y="3805389"/>
            <a:ext cx="5094302" cy="993092"/>
          </a:xfrm>
        </p:spPr>
        <p:txBody>
          <a:bodyPr vert="horz">
            <a:normAutofit/>
          </a:bodyPr>
          <a:lstStyle/>
          <a:p>
            <a:r>
              <a:rPr lang="de-DE" dirty="0"/>
              <a:t>Produktlösungen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73A397DA-5884-49B1-AE71-81733D3067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5183" y="4841551"/>
            <a:ext cx="5094301" cy="615553"/>
          </a:xfrm>
        </p:spPr>
        <p:txBody>
          <a:bodyPr/>
          <a:lstStyle/>
          <a:p>
            <a:r>
              <a:rPr lang="de-DE" dirty="0"/>
              <a:t>Nimm, was du brauchst und vergiss den Rest!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E2DEADD-F6D0-477C-A197-A83F865C02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184" y="5851632"/>
            <a:ext cx="3320978" cy="369332"/>
          </a:xfrm>
        </p:spPr>
        <p:txBody>
          <a:bodyPr/>
          <a:lstStyle/>
          <a:p>
            <a:r>
              <a:rPr lang="de-DE" dirty="0"/>
              <a:t>Philip Wenzel| Vertriebsspezialist BU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BD08E32-BCC4-49DB-B535-F17C26ADD71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t="1" b="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49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ie Erwerbsunfähigkeitsversicherung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Alternativ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Wer Geld für eine Umschulung hat, braucht erst Geld, wenn er nicht mehr umschulen kann! Und wer nicht mehr umschulen kann, kann auch keine 3 Stunden mehr in irgendeinem Job arbeiten. </a:t>
            </a:r>
          </a:p>
          <a:p>
            <a:r>
              <a:rPr lang="de-DE" sz="1600" b="0" dirty="0"/>
              <a:t>Kombiniert mit einem Krankentagegeld sind beide Versicherungen für Handwerker immer noch günstiger als eine BU-Versicherung. 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B6E2750-1FBC-F6FB-591D-01FDD346C6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687885"/>
              </p:ext>
            </p:extLst>
          </p:nvPr>
        </p:nvGraphicFramePr>
        <p:xfrm>
          <a:off x="479425" y="3164566"/>
          <a:ext cx="8128000" cy="312287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09274020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890509459"/>
                    </a:ext>
                  </a:extLst>
                </a:gridCol>
              </a:tblGrid>
              <a:tr h="638753">
                <a:tc>
                  <a:txBody>
                    <a:bodyPr/>
                    <a:lstStyle/>
                    <a:p>
                      <a:endParaRPr lang="de-DE" dirty="0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877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Für viele Berufe günsti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erst, wenn ich am allgemeinen Arbeitsmarkt keine 3 Stunden mehr arbeiten kan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6915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rückwirkend, wenn die Leistung anerkannt wi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erst, wenn die Einschränkung mindestens </a:t>
                      </a:r>
                    </a:p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6 Monate daue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7497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Psychische Erkrankungen sind mitversich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Absicherung bis 100% nur schwierig mögli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5237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Es gibt keine Einschränkungen bei versicherten Krankhei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er Nachweis des Leistungsfalls ist etwas komplizierter als bei der BUV, da ich abstrakt verwiesen werden kan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023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ie Gesundheitsprüfung ist manchmal weniger stre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6510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3405981"/>
                  </a:ext>
                </a:extLst>
              </a:tr>
            </a:tbl>
          </a:graphicData>
        </a:graphic>
      </p:graphicFrame>
      <p:pic>
        <p:nvPicPr>
          <p:cNvPr id="9" name="Grafik 8" descr="&quot;Daumen hoch&quot;-Zeichen">
            <a:extLst>
              <a:ext uri="{FF2B5EF4-FFF2-40B4-BE49-F238E27FC236}">
                <a16:creationId xmlns:a16="http://schemas.microsoft.com/office/drawing/2014/main" id="{4F6FE938-7983-E2E4-91EB-7639A56BC1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79811" y="3164566"/>
            <a:ext cx="619125" cy="619125"/>
          </a:xfrm>
          <a:prstGeom prst="rect">
            <a:avLst/>
          </a:prstGeom>
        </p:spPr>
      </p:pic>
      <p:pic>
        <p:nvPicPr>
          <p:cNvPr id="11" name="Grafik 10" descr="&quot;Daumen hoch&quot;-Zeichen">
            <a:extLst>
              <a:ext uri="{FF2B5EF4-FFF2-40B4-BE49-F238E27FC236}">
                <a16:creationId xmlns:a16="http://schemas.microsoft.com/office/drawing/2014/main" id="{E93238ED-8ED5-660A-F713-9B19F4F5AB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5975511" y="3190687"/>
            <a:ext cx="619125" cy="619125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3E9D345-5154-3B07-5341-0402709F670B}"/>
              </a:ext>
            </a:extLst>
          </p:cNvPr>
          <p:cNvGrpSpPr/>
          <p:nvPr/>
        </p:nvGrpSpPr>
        <p:grpSpPr>
          <a:xfrm>
            <a:off x="9181775" y="3460602"/>
            <a:ext cx="2530800" cy="2530800"/>
            <a:chOff x="9638817" y="4168001"/>
            <a:chExt cx="1116002" cy="1116002"/>
          </a:xfrm>
        </p:grpSpPr>
        <p:pic>
          <p:nvPicPr>
            <p:cNvPr id="6" name="Grafik 5" descr="Ein Bild, das Kreis, Symbol, Grafiken, Logo enthält.&#10;&#10;Automatisch generierte Beschreibung">
              <a:extLst>
                <a:ext uri="{FF2B5EF4-FFF2-40B4-BE49-F238E27FC236}">
                  <a16:creationId xmlns:a16="http://schemas.microsoft.com/office/drawing/2014/main" id="{E29C749F-274A-1D6E-EFEA-5D6B4D5F2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638817" y="4168001"/>
              <a:ext cx="1116002" cy="1116002"/>
            </a:xfrm>
            <a:prstGeom prst="rect">
              <a:avLst/>
            </a:prstGeom>
          </p:spPr>
        </p:pic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B9BDBC89-D9E4-42FB-591B-793B9BE8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806730" y="4345497"/>
              <a:ext cx="780176" cy="755009"/>
            </a:xfrm>
            <a:prstGeom prst="line">
              <a:avLst/>
            </a:prstGeom>
            <a:noFill/>
            <a:ln w="28575" cap="flat">
              <a:solidFill>
                <a:schemeClr val="tx1"/>
              </a:solidFill>
              <a:prstDash val="solid"/>
              <a:miter/>
            </a:ln>
          </p:spPr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F90DB9D4-4A28-FB9E-659B-72BA6EDD31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84808" y="4345497"/>
              <a:ext cx="802098" cy="742723"/>
            </a:xfrm>
            <a:prstGeom prst="line">
              <a:avLst/>
            </a:prstGeom>
            <a:noFill/>
            <a:ln w="28575" cap="flat">
              <a:solidFill>
                <a:schemeClr val="tx1"/>
              </a:solidFill>
              <a:prstDash val="solid"/>
              <a:miter/>
            </a:ln>
          </p:spPr>
        </p:cxnSp>
      </p:grpSp>
    </p:spTree>
    <p:extLst>
      <p:ext uri="{BB962C8B-B14F-4D97-AF65-F5344CB8AC3E}">
        <p14:creationId xmlns:p14="http://schemas.microsoft.com/office/powerpoint/2010/main" val="3249115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as Krankentagegeld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Alternativ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Das KTG alleine macht nicht glücklich, da es nicht dauerhaft leistet. Aber es lässt sich sinnvoll mit den anderen Alternativen kombinieren. Vor allem, wenn kein Geld auf der Seite ist. </a:t>
            </a:r>
          </a:p>
          <a:p>
            <a:r>
              <a:rPr lang="de-DE" sz="1600" b="0" dirty="0"/>
              <a:t>Wichtig: Immer KTG in gleicher Höhe wie die versicherte Rente!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DDBB6DDA-8918-95A0-42E3-7ADD885E3F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877280"/>
              </p:ext>
            </p:extLst>
          </p:nvPr>
        </p:nvGraphicFramePr>
        <p:xfrm>
          <a:off x="479425" y="3164566"/>
          <a:ext cx="8128000" cy="303651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09274020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890509459"/>
                    </a:ext>
                  </a:extLst>
                </a:gridCol>
              </a:tblGrid>
              <a:tr h="638753">
                <a:tc>
                  <a:txBody>
                    <a:bodyPr/>
                    <a:lstStyle/>
                    <a:p>
                      <a:endParaRPr lang="de-DE" dirty="0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877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schon nach 42 Tagen (Auch anders wählbar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Stellt die Leistung ein, wenn die Erkrankung dauerhaft i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6915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Absicherung bis 100% mög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Bei Anerkennung der BU gibt es einen Rückforderungs-Anspru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7497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Psychische Erkrankungen sind mitversich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5237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Es gibt keine Einschränkungen bei versicherten Krankhei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023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Einfacher Nachweis des Leistungsfal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6510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Relativ günsti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3405981"/>
                  </a:ext>
                </a:extLst>
              </a:tr>
            </a:tbl>
          </a:graphicData>
        </a:graphic>
      </p:graphicFrame>
      <p:pic>
        <p:nvPicPr>
          <p:cNvPr id="6" name="Grafik 5" descr="&quot;Daumen hoch&quot;-Zeichen">
            <a:extLst>
              <a:ext uri="{FF2B5EF4-FFF2-40B4-BE49-F238E27FC236}">
                <a16:creationId xmlns:a16="http://schemas.microsoft.com/office/drawing/2014/main" id="{AE124368-C5AF-86ED-07A2-FD4D28C2AF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79811" y="3164566"/>
            <a:ext cx="619125" cy="619125"/>
          </a:xfrm>
          <a:prstGeom prst="rect">
            <a:avLst/>
          </a:prstGeom>
        </p:spPr>
      </p:pic>
      <p:pic>
        <p:nvPicPr>
          <p:cNvPr id="7" name="Grafik 6" descr="&quot;Daumen hoch&quot;-Zeichen">
            <a:extLst>
              <a:ext uri="{FF2B5EF4-FFF2-40B4-BE49-F238E27FC236}">
                <a16:creationId xmlns:a16="http://schemas.microsoft.com/office/drawing/2014/main" id="{51242246-C69E-F4FB-EA9B-67B215297C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5975511" y="3190687"/>
            <a:ext cx="619125" cy="619125"/>
          </a:xfrm>
          <a:prstGeom prst="rect">
            <a:avLst/>
          </a:prstGeom>
        </p:spPr>
      </p:pic>
      <p:pic>
        <p:nvPicPr>
          <p:cNvPr id="9" name="Grafik 8" descr="Ein Bild, das Symbol, Logo, Kreis, Schrift enthält.&#10;&#10;Automatisch generierte Beschreibung">
            <a:extLst>
              <a:ext uri="{FF2B5EF4-FFF2-40B4-BE49-F238E27FC236}">
                <a16:creationId xmlns:a16="http://schemas.microsoft.com/office/drawing/2014/main" id="{1D12989B-31B4-4578-A1B7-36784338BF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81775" y="3417422"/>
            <a:ext cx="2530800" cy="253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883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ie Grundfähigkeitsversicherun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Alternativ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Nur eine Alternative mit </a:t>
            </a:r>
            <a:r>
              <a:rPr lang="de-DE" sz="1600" b="0"/>
              <a:t>der AU-Klausel. </a:t>
            </a:r>
            <a:r>
              <a:rPr lang="de-DE" sz="1600" b="0" dirty="0"/>
              <a:t>Ansonsten kein Bezug zum Berufsleben!</a:t>
            </a:r>
          </a:p>
          <a:p>
            <a:r>
              <a:rPr lang="de-DE" sz="1600" b="0" dirty="0"/>
              <a:t>Kann aber Ausgaben, die beim Verlust einer Grundfähigkeit entstehen, abdecken. 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6E6C91B1-25CE-DCC3-DB9A-FBE35DF2A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695689"/>
              </p:ext>
            </p:extLst>
          </p:nvPr>
        </p:nvGraphicFramePr>
        <p:xfrm>
          <a:off x="479425" y="3164566"/>
          <a:ext cx="8128000" cy="310763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09274020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890509459"/>
                    </a:ext>
                  </a:extLst>
                </a:gridCol>
              </a:tblGrid>
              <a:tr h="638753">
                <a:tc>
                  <a:txBody>
                    <a:bodyPr/>
                    <a:lstStyle/>
                    <a:p>
                      <a:endParaRPr lang="de-DE" dirty="0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877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Für viele Berufe sehr günsti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nur, wenn die versicherte Grundfähigkeit in dem Umfang verloren geht, wie es in den Bedingungen beschrieben ist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6915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rückwirkend, wenn die Leistung anerkannt wi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erst, wenn die Einschränkung mindestens </a:t>
                      </a:r>
                    </a:p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6 Monate daue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7497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ie Gesundheitsprüfung ist vor allem bei psychischen Erkrankungen weniger stre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Absicherung bis 100% nur schwierig mögli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5237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er Nachweis des Leistungsfalls ist nicht ganz so komplizi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Hohe Hürde beim Auslöser Psychische Erkrankung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023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Es gibt Einschränkungen bei den versicherten Krankheiten, z.B. psychische oder suchtbedingte Erkrankung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651071"/>
                  </a:ext>
                </a:extLst>
              </a:tr>
            </a:tbl>
          </a:graphicData>
        </a:graphic>
      </p:graphicFrame>
      <p:pic>
        <p:nvPicPr>
          <p:cNvPr id="9" name="Grafik 8" descr="&quot;Daumen hoch&quot;-Zeichen">
            <a:extLst>
              <a:ext uri="{FF2B5EF4-FFF2-40B4-BE49-F238E27FC236}">
                <a16:creationId xmlns:a16="http://schemas.microsoft.com/office/drawing/2014/main" id="{91479A34-ED5F-0623-3DAC-01C02F67E1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79811" y="3164566"/>
            <a:ext cx="619125" cy="619125"/>
          </a:xfrm>
          <a:prstGeom prst="rect">
            <a:avLst/>
          </a:prstGeom>
        </p:spPr>
      </p:pic>
      <p:pic>
        <p:nvPicPr>
          <p:cNvPr id="11" name="Grafik 10" descr="&quot;Daumen hoch&quot;-Zeichen">
            <a:extLst>
              <a:ext uri="{FF2B5EF4-FFF2-40B4-BE49-F238E27FC236}">
                <a16:creationId xmlns:a16="http://schemas.microsoft.com/office/drawing/2014/main" id="{B0D67BA0-BF82-074F-F5B7-6FBF1378F1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5975511" y="3190687"/>
            <a:ext cx="619125" cy="619125"/>
          </a:xfrm>
          <a:prstGeom prst="rect">
            <a:avLst/>
          </a:prstGeom>
        </p:spPr>
      </p:pic>
      <p:pic>
        <p:nvPicPr>
          <p:cNvPr id="6" name="Grafik 5" descr="Ein Bild, das Symbol, Kreis, Grafiken, Logo enthält.&#10;&#10;Automatisch generierte Beschreibung">
            <a:extLst>
              <a:ext uri="{FF2B5EF4-FFF2-40B4-BE49-F238E27FC236}">
                <a16:creationId xmlns:a16="http://schemas.microsoft.com/office/drawing/2014/main" id="{24BEABED-5D81-5EF5-E7BC-29629527AFB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81775" y="3452982"/>
            <a:ext cx="2530800" cy="253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670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as Pflegetagege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Alternativ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In der Tabelle sieht das Pflegetagegeld super aus. Tatsächlich ist es aber vor allem in jungen Jahren zum Glück sehr schwierig, pflegebedürftig zu werden. </a:t>
            </a:r>
          </a:p>
          <a:p>
            <a:r>
              <a:rPr lang="de-DE" sz="1600" b="0" dirty="0"/>
              <a:t>Im Alter ist ein PTG aber sehr wichtig, weshalb es nicht dumm ist, es in Kombination mit einer der anderen Produkte abzuschließen.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6E6C91B1-25CE-DCC3-DB9A-FBE35DF2A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2186280"/>
              </p:ext>
            </p:extLst>
          </p:nvPr>
        </p:nvGraphicFramePr>
        <p:xfrm>
          <a:off x="479425" y="3164566"/>
          <a:ext cx="8128000" cy="28637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09274020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890509459"/>
                    </a:ext>
                  </a:extLst>
                </a:gridCol>
              </a:tblGrid>
              <a:tr h="638753">
                <a:tc>
                  <a:txBody>
                    <a:bodyPr/>
                    <a:lstStyle/>
                    <a:p>
                      <a:endParaRPr lang="de-DE" dirty="0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877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Für viele Berufe sehr günsti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ie Hürde zur Leistung ist in jungen Jahren sehr ho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6915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rückwirkend, wenn die Leistung anerkannt wi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er Beitrag kann immer wieder steig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7497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ie Gesundheitsprüfung ist weniger stre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5237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as Tagegeld wird lebenslang bezah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023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er Versicherungsschutz gilt lebensla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6510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er Nachweis des Leistungsfalls ist nicht komplizi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3405981"/>
                  </a:ext>
                </a:extLst>
              </a:tr>
            </a:tbl>
          </a:graphicData>
        </a:graphic>
      </p:graphicFrame>
      <p:pic>
        <p:nvPicPr>
          <p:cNvPr id="9" name="Grafik 8" descr="&quot;Daumen hoch&quot;-Zeichen">
            <a:extLst>
              <a:ext uri="{FF2B5EF4-FFF2-40B4-BE49-F238E27FC236}">
                <a16:creationId xmlns:a16="http://schemas.microsoft.com/office/drawing/2014/main" id="{91479A34-ED5F-0623-3DAC-01C02F67E1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79811" y="3164566"/>
            <a:ext cx="619125" cy="619125"/>
          </a:xfrm>
          <a:prstGeom prst="rect">
            <a:avLst/>
          </a:prstGeom>
        </p:spPr>
      </p:pic>
      <p:pic>
        <p:nvPicPr>
          <p:cNvPr id="11" name="Grafik 10" descr="&quot;Daumen hoch&quot;-Zeichen">
            <a:extLst>
              <a:ext uri="{FF2B5EF4-FFF2-40B4-BE49-F238E27FC236}">
                <a16:creationId xmlns:a16="http://schemas.microsoft.com/office/drawing/2014/main" id="{B0D67BA0-BF82-074F-F5B7-6FBF1378F1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5975511" y="3190687"/>
            <a:ext cx="619125" cy="619125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2B70025-C157-5608-AC73-A52844B57220}"/>
              </a:ext>
            </a:extLst>
          </p:cNvPr>
          <p:cNvGrpSpPr/>
          <p:nvPr/>
        </p:nvGrpSpPr>
        <p:grpSpPr>
          <a:xfrm>
            <a:off x="9181775" y="3331062"/>
            <a:ext cx="2530800" cy="2530800"/>
            <a:chOff x="9181775" y="3331062"/>
            <a:chExt cx="2530800" cy="2530800"/>
          </a:xfrm>
        </p:grpSpPr>
        <p:pic>
          <p:nvPicPr>
            <p:cNvPr id="6" name="Grafik 5" descr="Ein Bild, das Kreis, Grafiken, Symbol, Kunst enthält.&#10;&#10;Automatisch generierte Beschreibung">
              <a:extLst>
                <a:ext uri="{FF2B5EF4-FFF2-40B4-BE49-F238E27FC236}">
                  <a16:creationId xmlns:a16="http://schemas.microsoft.com/office/drawing/2014/main" id="{7603C796-CAB7-252C-85C0-5AECBE333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181775" y="3331062"/>
              <a:ext cx="2530800" cy="2530800"/>
            </a:xfrm>
            <a:prstGeom prst="rect">
              <a:avLst/>
            </a:prstGeom>
          </p:spPr>
        </p:pic>
        <p:sp>
          <p:nvSpPr>
            <p:cNvPr id="4" name="Additionszeichen 3">
              <a:extLst>
                <a:ext uri="{FF2B5EF4-FFF2-40B4-BE49-F238E27FC236}">
                  <a16:creationId xmlns:a16="http://schemas.microsoft.com/office/drawing/2014/main" id="{DB5ADC12-8B00-C0D5-C763-471C9301A73D}"/>
                </a:ext>
              </a:extLst>
            </p:cNvPr>
            <p:cNvSpPr/>
            <p:nvPr/>
          </p:nvSpPr>
          <p:spPr>
            <a:xfrm>
              <a:off x="10016455" y="4655890"/>
              <a:ext cx="260059" cy="260059"/>
            </a:xfrm>
            <a:prstGeom prst="mathPlus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/>
            <a:p>
              <a:pPr algn="l"/>
              <a:endParaRPr lang="de-DE" sz="1600" dirty="0" err="1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3586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ie </a:t>
            </a:r>
            <a:r>
              <a:rPr lang="de-DE" dirty="0" err="1"/>
              <a:t>Dread</a:t>
            </a:r>
            <a:r>
              <a:rPr lang="de-DE" dirty="0"/>
              <a:t> Disease oder Schwere-Krankheiten-Versicherun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Alternativ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Auch die </a:t>
            </a:r>
            <a:r>
              <a:rPr lang="de-DE" sz="1600" b="0" dirty="0" err="1"/>
              <a:t>Dread</a:t>
            </a:r>
            <a:r>
              <a:rPr lang="de-DE" sz="1600" b="0" dirty="0"/>
              <a:t> Disease ist nur in Kombination mit einer Erwerbsunfähigkeits-Versicherung oder einem Krankentagegeld eine Alternative, da sie keinen Bezug zum Beruf hat und auch keine Rente, sondern einen Einmalbeitrag leistet. 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A4F19C2B-1B65-A35F-4B4B-6587010BDF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538042"/>
              </p:ext>
            </p:extLst>
          </p:nvPr>
        </p:nvGraphicFramePr>
        <p:xfrm>
          <a:off x="479425" y="3164566"/>
          <a:ext cx="8128000" cy="293491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09274020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890509459"/>
                    </a:ext>
                  </a:extLst>
                </a:gridCol>
              </a:tblGrid>
              <a:tr h="638753">
                <a:tc>
                  <a:txBody>
                    <a:bodyPr/>
                    <a:lstStyle/>
                    <a:p>
                      <a:endParaRPr lang="de-DE" dirty="0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877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Für viele Berufe sehr günstig, bei längerer Laufzeit aber auch sehr, sehr teu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nur, wenn die versicherte Krankheit in dem Umfang Eintritt, wie es in den Bedingungen beschrieben ist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6915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Ich kann hohe Einmalleistungen absiche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nur einen Einmalbeitr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7497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ie Gesundheitsprüfung ist vor allem bei psychischen Erkrankungen weniger stre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Schlecht geeignet, um tatsächlich das Einkommen bis zur Rente abzudecken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5237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Gut geeignet, um Finanzierungen einer Immobilie, Praxis oder Kanzlei abzusiche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er Nachweis des Leistungsfalls ist nicht ganz so kompliziert, weil der Auslöser in den Bedingungen beschrieben i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023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Psychische Erkrankungen sind nicht mitversicher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651071"/>
                  </a:ext>
                </a:extLst>
              </a:tr>
            </a:tbl>
          </a:graphicData>
        </a:graphic>
      </p:graphicFrame>
      <p:pic>
        <p:nvPicPr>
          <p:cNvPr id="6" name="Grafik 5" descr="&quot;Daumen hoch&quot;-Zeichen">
            <a:extLst>
              <a:ext uri="{FF2B5EF4-FFF2-40B4-BE49-F238E27FC236}">
                <a16:creationId xmlns:a16="http://schemas.microsoft.com/office/drawing/2014/main" id="{AF7963C8-DC4D-08F7-3F01-33B9792416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79811" y="3164566"/>
            <a:ext cx="619125" cy="619125"/>
          </a:xfrm>
          <a:prstGeom prst="rect">
            <a:avLst/>
          </a:prstGeom>
        </p:spPr>
      </p:pic>
      <p:pic>
        <p:nvPicPr>
          <p:cNvPr id="7" name="Grafik 6" descr="&quot;Daumen hoch&quot;-Zeichen">
            <a:extLst>
              <a:ext uri="{FF2B5EF4-FFF2-40B4-BE49-F238E27FC236}">
                <a16:creationId xmlns:a16="http://schemas.microsoft.com/office/drawing/2014/main" id="{7516934F-0F67-3460-BF08-97742BDD3D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5975511" y="3190687"/>
            <a:ext cx="619125" cy="619125"/>
          </a:xfrm>
          <a:prstGeom prst="rect">
            <a:avLst/>
          </a:prstGeom>
        </p:spPr>
      </p:pic>
      <p:pic>
        <p:nvPicPr>
          <p:cNvPr id="9" name="Grafik 8" descr="Ein Bild, das Kreis, Grafiken, Clipart, Zeichnung enthält.&#10;&#10;Automatisch generierte Beschreibung">
            <a:extLst>
              <a:ext uri="{FF2B5EF4-FFF2-40B4-BE49-F238E27FC236}">
                <a16:creationId xmlns:a16="http://schemas.microsoft.com/office/drawing/2014/main" id="{33A21732-316D-2A90-1629-EB466463E2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81775" y="3366622"/>
            <a:ext cx="2530800" cy="253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264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Was sind die wichtigsten Fragen?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Alternativ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Ist die Beitragsersparnis groß genug, dass ich bereit bin, Teile des Risikos selbst zu trag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Wäre eine bessere Absicherung mit einem Ausschluss sinnvoller oder nehme ich die schlechtere Absicherung, die alle Krankheiten einschließ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Gibt es vielleicht eine Möglichkeit, den Tarif später zu erweitern oder zu wechsel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r>
              <a:rPr lang="de-DE" sz="1600" b="0" dirty="0">
                <a:sym typeface="Wingdings" panose="05000000000000000000" pitchFamily="2" charset="2"/>
              </a:rPr>
              <a:t> Gerade bei Notlösungen aus gesundheitlichen Gründen sollte alle paar Jahre die Versicherbarkeit geprüft werden.</a:t>
            </a:r>
            <a:endParaRPr lang="de-DE" sz="1600" b="0" dirty="0"/>
          </a:p>
        </p:txBody>
      </p:sp>
      <p:pic>
        <p:nvPicPr>
          <p:cNvPr id="6" name="Grafik 5" descr="Ein Bild, das Kreis, Grafiken, Symbol, Logo enthält.&#10;&#10;Automatisch generierte Beschreibung">
            <a:extLst>
              <a:ext uri="{FF2B5EF4-FFF2-40B4-BE49-F238E27FC236}">
                <a16:creationId xmlns:a16="http://schemas.microsoft.com/office/drawing/2014/main" id="{F12FC05C-8BD1-DB31-B3C4-C036652DD3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9108" y="2094505"/>
            <a:ext cx="697844" cy="697844"/>
          </a:xfrm>
          <a:prstGeom prst="rect">
            <a:avLst/>
          </a:prstGeom>
        </p:spPr>
      </p:pic>
      <p:pic>
        <p:nvPicPr>
          <p:cNvPr id="8" name="Grafik 7" descr="Ein Bild, das Symbol, Kreis, Logo, Grafiken enthält.&#10;&#10;Automatisch generierte Beschreibung">
            <a:extLst>
              <a:ext uri="{FF2B5EF4-FFF2-40B4-BE49-F238E27FC236}">
                <a16:creationId xmlns:a16="http://schemas.microsoft.com/office/drawing/2014/main" id="{31345749-4077-A892-920D-908BD63819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9107" y="3565991"/>
            <a:ext cx="697845" cy="697845"/>
          </a:xfrm>
          <a:prstGeom prst="rect">
            <a:avLst/>
          </a:prstGeom>
        </p:spPr>
      </p:pic>
      <p:pic>
        <p:nvPicPr>
          <p:cNvPr id="13" name="Grafik 12" descr="Ein Bild, das Kreis, Symbol, Logo, Grafiken enthält.&#10;&#10;Automatisch generierte Beschreibung">
            <a:extLst>
              <a:ext uri="{FF2B5EF4-FFF2-40B4-BE49-F238E27FC236}">
                <a16:creationId xmlns:a16="http://schemas.microsoft.com/office/drawing/2014/main" id="{651655AD-3D78-1FF7-FB32-4683089A29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9106" y="4728738"/>
            <a:ext cx="697846" cy="69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019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FF7E21-80BF-46C9-B8E4-2728DDBB8D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433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FF7E21-80BF-46C9-B8E4-2728DDBB8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9" descr="Ein Bild, das Person, Frau, Getränk, Restaurant enthält.&#10;&#10;Automatisch generierte Beschreibung">
            <a:extLst>
              <a:ext uri="{FF2B5EF4-FFF2-40B4-BE49-F238E27FC236}">
                <a16:creationId xmlns:a16="http://schemas.microsoft.com/office/drawing/2014/main" id="{3D95A2D8-ED38-45CE-8F73-7CC7F60CE74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t="9067" b="9067"/>
          <a:stretch/>
        </p:blipFill>
        <p:spPr>
          <a:xfrm>
            <a:off x="200438" y="211702"/>
            <a:ext cx="11791121" cy="6434593"/>
          </a:xfr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5D72B112-29C1-4C7A-B333-C111231DAD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42286" y="4182990"/>
            <a:ext cx="4332989" cy="893771"/>
          </a:xfrm>
        </p:spPr>
        <p:txBody>
          <a:bodyPr vert="horz"/>
          <a:lstStyle/>
          <a:p>
            <a:r>
              <a:rPr lang="de-DE" dirty="0"/>
              <a:t>Herzlichen Dank!</a:t>
            </a:r>
          </a:p>
        </p:txBody>
      </p:sp>
      <p:sp>
        <p:nvSpPr>
          <p:cNvPr id="15" name="Untertitel 14">
            <a:extLst>
              <a:ext uri="{FF2B5EF4-FFF2-40B4-BE49-F238E27FC236}">
                <a16:creationId xmlns:a16="http://schemas.microsoft.com/office/drawing/2014/main" id="{5E371E36-018E-46F4-8F7A-9478052236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42285" y="5177005"/>
            <a:ext cx="4332988" cy="553998"/>
          </a:xfrm>
        </p:spPr>
        <p:txBody>
          <a:bodyPr/>
          <a:lstStyle/>
          <a:p>
            <a:r>
              <a:rPr lang="de-DE" dirty="0"/>
              <a:t>Wenn ihr Fragen habt oder euch was aufgefallen ist, dann schreibt mir!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6B2BD28-D863-4EC9-B1AF-3E90355348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2286" y="5903220"/>
            <a:ext cx="4332988" cy="184666"/>
          </a:xfrm>
        </p:spPr>
        <p:txBody>
          <a:bodyPr/>
          <a:lstStyle/>
          <a:p>
            <a:r>
              <a:rPr lang="de-DE" dirty="0"/>
              <a:t>Philip Wenzel| p.wenzel@fondsfinanz.de</a:t>
            </a:r>
          </a:p>
        </p:txBody>
      </p:sp>
    </p:spTree>
    <p:extLst>
      <p:ext uri="{BB962C8B-B14F-4D97-AF65-F5344CB8AC3E}">
        <p14:creationId xmlns:p14="http://schemas.microsoft.com/office/powerpoint/2010/main" val="7149125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u brauchst Lösun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8" name="Bildplatzhalter 7" descr="Ein Bild, das Kleidung, Person, Mann, Menschliches Gesicht enthält.&#10;&#10;Automatisch generierte Beschreibung">
            <a:extLst>
              <a:ext uri="{FF2B5EF4-FFF2-40B4-BE49-F238E27FC236}">
                <a16:creationId xmlns:a16="http://schemas.microsoft.com/office/drawing/2014/main" id="{F8037197-BC93-194B-3FCE-175E2A6D711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113" b="91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2999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Was ist nochmal das Problem?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Welche Lösung zu welcher Lücke?</a:t>
            </a:r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E1EC9163-F060-A553-CF24-A32C09693141}"/>
              </a:ext>
            </a:extLst>
          </p:cNvPr>
          <p:cNvSpPr/>
          <p:nvPr/>
        </p:nvSpPr>
        <p:spPr bwMode="auto">
          <a:xfrm>
            <a:off x="10630424" y="4068326"/>
            <a:ext cx="1512148" cy="1655762"/>
          </a:xfrm>
          <a:prstGeom prst="rightArrow">
            <a:avLst/>
          </a:prstGeom>
          <a:solidFill>
            <a:schemeClr val="tx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89CD2EF-1879-B738-3400-A84633CC533B}"/>
              </a:ext>
            </a:extLst>
          </p:cNvPr>
          <p:cNvCxnSpPr/>
          <p:nvPr/>
        </p:nvCxnSpPr>
        <p:spPr>
          <a:xfrm>
            <a:off x="542927" y="1567524"/>
            <a:ext cx="0" cy="404226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FCEF2B4D-B7A5-C893-0AF3-F48D82F4A2FC}"/>
              </a:ext>
            </a:extLst>
          </p:cNvPr>
          <p:cNvCxnSpPr>
            <a:cxnSpLocks/>
          </p:cNvCxnSpPr>
          <p:nvPr/>
        </p:nvCxnSpPr>
        <p:spPr>
          <a:xfrm>
            <a:off x="552452" y="5600263"/>
            <a:ext cx="1076453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F40E73FE-2A04-660B-1170-ABDB43B5B3F2}"/>
              </a:ext>
            </a:extLst>
          </p:cNvPr>
          <p:cNvSpPr/>
          <p:nvPr/>
        </p:nvSpPr>
        <p:spPr>
          <a:xfrm>
            <a:off x="557605" y="1977080"/>
            <a:ext cx="10744709" cy="35958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5DEB5CAA-AFA8-C305-2BCD-A36A952533BF}"/>
              </a:ext>
            </a:extLst>
          </p:cNvPr>
          <p:cNvCxnSpPr/>
          <p:nvPr/>
        </p:nvCxnSpPr>
        <p:spPr>
          <a:xfrm>
            <a:off x="127635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BD98ABF2-D1F2-C8F6-023F-6B3B2A38E7DA}"/>
              </a:ext>
            </a:extLst>
          </p:cNvPr>
          <p:cNvCxnSpPr>
            <a:cxnSpLocks/>
          </p:cNvCxnSpPr>
          <p:nvPr/>
        </p:nvCxnSpPr>
        <p:spPr>
          <a:xfrm>
            <a:off x="2000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209CB99-A2C6-8C51-0862-FA9FDC86F466}"/>
              </a:ext>
            </a:extLst>
          </p:cNvPr>
          <p:cNvCxnSpPr>
            <a:cxnSpLocks/>
          </p:cNvCxnSpPr>
          <p:nvPr/>
        </p:nvCxnSpPr>
        <p:spPr>
          <a:xfrm>
            <a:off x="271462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4F3CEC75-D9CB-3AD8-BF58-E5C8D00CD330}"/>
              </a:ext>
            </a:extLst>
          </p:cNvPr>
          <p:cNvCxnSpPr>
            <a:cxnSpLocks/>
          </p:cNvCxnSpPr>
          <p:nvPr/>
        </p:nvCxnSpPr>
        <p:spPr>
          <a:xfrm>
            <a:off x="343852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0682E89-2BD3-5FF4-207A-80AE3E512BC0}"/>
              </a:ext>
            </a:extLst>
          </p:cNvPr>
          <p:cNvCxnSpPr>
            <a:cxnSpLocks/>
          </p:cNvCxnSpPr>
          <p:nvPr/>
        </p:nvCxnSpPr>
        <p:spPr>
          <a:xfrm>
            <a:off x="414337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B95B164D-5DAA-A071-13B7-8FBFD91C4FD1}"/>
              </a:ext>
            </a:extLst>
          </p:cNvPr>
          <p:cNvCxnSpPr>
            <a:cxnSpLocks/>
          </p:cNvCxnSpPr>
          <p:nvPr/>
        </p:nvCxnSpPr>
        <p:spPr>
          <a:xfrm>
            <a:off x="487680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2968D199-DF7A-D74A-B95D-182C03A4D593}"/>
              </a:ext>
            </a:extLst>
          </p:cNvPr>
          <p:cNvCxnSpPr>
            <a:cxnSpLocks/>
          </p:cNvCxnSpPr>
          <p:nvPr/>
        </p:nvCxnSpPr>
        <p:spPr>
          <a:xfrm>
            <a:off x="56007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9128F8B-24CC-961B-24A1-3715BF86EF3D}"/>
              </a:ext>
            </a:extLst>
          </p:cNvPr>
          <p:cNvCxnSpPr>
            <a:cxnSpLocks/>
          </p:cNvCxnSpPr>
          <p:nvPr/>
        </p:nvCxnSpPr>
        <p:spPr>
          <a:xfrm>
            <a:off x="63246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40A4BC0-A566-6FFF-0027-82F73F527DEB}"/>
              </a:ext>
            </a:extLst>
          </p:cNvPr>
          <p:cNvCxnSpPr>
            <a:cxnSpLocks/>
          </p:cNvCxnSpPr>
          <p:nvPr/>
        </p:nvCxnSpPr>
        <p:spPr>
          <a:xfrm>
            <a:off x="703897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4EB5DE2-7193-C508-7243-C8B1B0FDA33A}"/>
              </a:ext>
            </a:extLst>
          </p:cNvPr>
          <p:cNvCxnSpPr>
            <a:cxnSpLocks/>
          </p:cNvCxnSpPr>
          <p:nvPr/>
        </p:nvCxnSpPr>
        <p:spPr>
          <a:xfrm>
            <a:off x="77533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A740B8E-ED0D-2BF7-60AC-205AEB79610D}"/>
              </a:ext>
            </a:extLst>
          </p:cNvPr>
          <p:cNvCxnSpPr>
            <a:cxnSpLocks/>
          </p:cNvCxnSpPr>
          <p:nvPr/>
        </p:nvCxnSpPr>
        <p:spPr>
          <a:xfrm>
            <a:off x="8477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7ECD1EE-30ED-E074-034E-71AEB4780E07}"/>
              </a:ext>
            </a:extLst>
          </p:cNvPr>
          <p:cNvCxnSpPr>
            <a:cxnSpLocks/>
          </p:cNvCxnSpPr>
          <p:nvPr/>
        </p:nvCxnSpPr>
        <p:spPr>
          <a:xfrm>
            <a:off x="92011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CEF1F7F2-057D-5E4D-CDB0-17DE8D8C4AD3}"/>
              </a:ext>
            </a:extLst>
          </p:cNvPr>
          <p:cNvSpPr txBox="1"/>
          <p:nvPr/>
        </p:nvSpPr>
        <p:spPr>
          <a:xfrm>
            <a:off x="149328" y="5350989"/>
            <a:ext cx="483230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6C3F82A7-60D2-1617-5819-5D067D8ED599}"/>
              </a:ext>
            </a:extLst>
          </p:cNvPr>
          <p:cNvSpPr txBox="1"/>
          <p:nvPr/>
        </p:nvSpPr>
        <p:spPr>
          <a:xfrm>
            <a:off x="90619" y="4658001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20%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6E1B8DA0-3DB7-17CF-6877-3F4D2398A2CC}"/>
              </a:ext>
            </a:extLst>
          </p:cNvPr>
          <p:cNvSpPr txBox="1"/>
          <p:nvPr/>
        </p:nvSpPr>
        <p:spPr>
          <a:xfrm>
            <a:off x="67955" y="3930216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40%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B5DC391E-F731-1B26-ACAA-98A465DD4A78}"/>
              </a:ext>
            </a:extLst>
          </p:cNvPr>
          <p:cNvSpPr txBox="1"/>
          <p:nvPr/>
        </p:nvSpPr>
        <p:spPr>
          <a:xfrm>
            <a:off x="67310" y="3214860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60%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16E5D0B-1D38-C24D-7682-CE892614CBC8}"/>
              </a:ext>
            </a:extLst>
          </p:cNvPr>
          <p:cNvSpPr txBox="1"/>
          <p:nvPr/>
        </p:nvSpPr>
        <p:spPr>
          <a:xfrm>
            <a:off x="67310" y="2503247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dirty="0">
                <a:ea typeface="Yu Gothic Light" panose="020B0300000000000000" pitchFamily="34" charset="-128"/>
              </a:rPr>
              <a:t>8</a:t>
            </a: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6753C0C-A8C1-52F8-8C47-3B698A877F6A}"/>
              </a:ext>
            </a:extLst>
          </p:cNvPr>
          <p:cNvSpPr txBox="1"/>
          <p:nvPr/>
        </p:nvSpPr>
        <p:spPr>
          <a:xfrm>
            <a:off x="-24712" y="1775462"/>
            <a:ext cx="68170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100%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F4B387FA-2076-AE73-BC04-F91276E5F81E}"/>
              </a:ext>
            </a:extLst>
          </p:cNvPr>
          <p:cNvSpPr txBox="1"/>
          <p:nvPr/>
        </p:nvSpPr>
        <p:spPr>
          <a:xfrm>
            <a:off x="390943" y="5610019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6 Wochen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26633FB-6D2F-0FC1-AA63-0023F96FD832}"/>
              </a:ext>
            </a:extLst>
          </p:cNvPr>
          <p:cNvSpPr txBox="1"/>
          <p:nvPr/>
        </p:nvSpPr>
        <p:spPr>
          <a:xfrm>
            <a:off x="9043339" y="5614887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78 Woche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C360301-557A-B929-A928-61891806A817}"/>
              </a:ext>
            </a:extLst>
          </p:cNvPr>
          <p:cNvSpPr/>
          <p:nvPr/>
        </p:nvSpPr>
        <p:spPr bwMode="auto">
          <a:xfrm>
            <a:off x="542927" y="1968843"/>
            <a:ext cx="741656" cy="3632705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44AC8D2-1E51-1481-0EF3-D586A1B6B531}"/>
              </a:ext>
            </a:extLst>
          </p:cNvPr>
          <p:cNvSpPr/>
          <p:nvPr/>
        </p:nvSpPr>
        <p:spPr bwMode="auto">
          <a:xfrm>
            <a:off x="1284581" y="2828720"/>
            <a:ext cx="8630175" cy="2771542"/>
          </a:xfrm>
          <a:prstGeom prst="rect">
            <a:avLst/>
          </a:prstGeom>
          <a:solidFill>
            <a:schemeClr val="tx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20938645-16B9-DC03-11BC-CB391D7F7E2A}"/>
              </a:ext>
            </a:extLst>
          </p:cNvPr>
          <p:cNvSpPr/>
          <p:nvPr/>
        </p:nvSpPr>
        <p:spPr bwMode="auto">
          <a:xfrm>
            <a:off x="10522558" y="4365965"/>
            <a:ext cx="794433" cy="123429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1CFEAA4A-E07C-A637-D4D2-A5E339495B20}"/>
              </a:ext>
            </a:extLst>
          </p:cNvPr>
          <p:cNvSpPr/>
          <p:nvPr/>
        </p:nvSpPr>
        <p:spPr bwMode="auto">
          <a:xfrm>
            <a:off x="9925574" y="4983474"/>
            <a:ext cx="1376740" cy="596957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solidFill>
              <a:schemeClr val="tx1">
                <a:lumMod val="40000"/>
                <a:lumOff val="60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B232E946-F8B2-D565-323D-135D678E4A48}"/>
              </a:ext>
            </a:extLst>
          </p:cNvPr>
          <p:cNvCxnSpPr>
            <a:cxnSpLocks/>
          </p:cNvCxnSpPr>
          <p:nvPr/>
        </p:nvCxnSpPr>
        <p:spPr>
          <a:xfrm>
            <a:off x="9914756" y="5606955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feld 66">
            <a:extLst>
              <a:ext uri="{FF2B5EF4-FFF2-40B4-BE49-F238E27FC236}">
                <a16:creationId xmlns:a16="http://schemas.microsoft.com/office/drawing/2014/main" id="{1E21BD2A-D7A2-A50A-4EC1-23110EA3619F}"/>
              </a:ext>
            </a:extLst>
          </p:cNvPr>
          <p:cNvSpPr txBox="1"/>
          <p:nvPr/>
        </p:nvSpPr>
        <p:spPr>
          <a:xfrm rot="5400000">
            <a:off x="-675636" y="3233588"/>
            <a:ext cx="2822223" cy="71013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solidFill>
                  <a:schemeClr val="bg1"/>
                </a:solidFill>
                <a:ea typeface="Yu Gothic Light" panose="020B0300000000000000" pitchFamily="34" charset="-128"/>
              </a:rPr>
              <a:t>Lohnfortzahlung durch den Arbeitgeb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D11334CE-9F3F-2005-6C13-035FD2FCFBF4}"/>
              </a:ext>
            </a:extLst>
          </p:cNvPr>
          <p:cNvSpPr txBox="1"/>
          <p:nvPr/>
        </p:nvSpPr>
        <p:spPr>
          <a:xfrm>
            <a:off x="3066489" y="4016103"/>
            <a:ext cx="4970609" cy="2973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solidFill>
                  <a:schemeClr val="bg1"/>
                </a:solidFill>
                <a:ea typeface="Yu Gothic Light" panose="020B0300000000000000" pitchFamily="34" charset="-128"/>
              </a:rPr>
              <a:t>Krankengeld von der Krankenkasse (max. Dauer für 72 Wochen 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E71C50C1-DF3B-A4E7-12EA-63B89AEA55C2}"/>
              </a:ext>
            </a:extLst>
          </p:cNvPr>
          <p:cNvSpPr txBox="1"/>
          <p:nvPr/>
        </p:nvSpPr>
        <p:spPr>
          <a:xfrm>
            <a:off x="10471254" y="4369531"/>
            <a:ext cx="904026" cy="384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ea typeface="Yu Gothic Light" panose="020B0300000000000000" pitchFamily="34" charset="-128"/>
              </a:rPr>
              <a:t>Volle EMI</a:t>
            </a:r>
          </a:p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dirty="0">
                <a:ea typeface="Yu Gothic Light" panose="020B0300000000000000" pitchFamily="34" charset="-128"/>
              </a:rPr>
              <a:t>ca.40%</a:t>
            </a:r>
            <a:endParaRPr lang="de-DE" sz="1400" kern="1200" dirty="0">
              <a:ea typeface="Yu Gothic Light" panose="020B0300000000000000" pitchFamily="34" charset="-128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EDCA44E5-4B6F-1B84-90B1-1D83DD3674FC}"/>
              </a:ext>
            </a:extLst>
          </p:cNvPr>
          <p:cNvSpPr txBox="1"/>
          <p:nvPr/>
        </p:nvSpPr>
        <p:spPr>
          <a:xfrm>
            <a:off x="10270904" y="2523132"/>
            <a:ext cx="741656" cy="56511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ea typeface="Yu Gothic Light" panose="020B0300000000000000" pitchFamily="34" charset="-128"/>
              </a:rPr>
              <a:t>Diese Lücke ist dann für immer!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19833263-A54C-B75F-5587-163E8AE18B45}"/>
              </a:ext>
            </a:extLst>
          </p:cNvPr>
          <p:cNvSpPr txBox="1"/>
          <p:nvPr/>
        </p:nvSpPr>
        <p:spPr>
          <a:xfrm>
            <a:off x="9942879" y="5867105"/>
            <a:ext cx="2140263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 rtl="0" eaLnBrk="1" latinLnBrk="0" hangingPunct="1"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Die EMI geht dann</a:t>
            </a:r>
            <a:r>
              <a:rPr lang="de-DE" sz="1200" dirty="0">
                <a:ea typeface="Yu Gothic Light" panose="020B0300000000000000" pitchFamily="34" charset="-128"/>
              </a:rPr>
              <a:t> </a:t>
            </a:r>
            <a:r>
              <a:rPr lang="de-DE" sz="1200" kern="1200" dirty="0">
                <a:ea typeface="Yu Gothic Light" panose="020B0300000000000000" pitchFamily="34" charset="-128"/>
              </a:rPr>
              <a:t>mal in etwa</a:t>
            </a:r>
            <a:br>
              <a:rPr lang="de-DE" sz="1200" kern="1200" dirty="0">
                <a:ea typeface="Yu Gothic Light" panose="020B0300000000000000" pitchFamily="34" charset="-128"/>
              </a:rPr>
            </a:br>
            <a:r>
              <a:rPr lang="de-DE" sz="1200" kern="1200" dirty="0">
                <a:ea typeface="Yu Gothic Light" panose="020B0300000000000000" pitchFamily="34" charset="-128"/>
              </a:rPr>
              <a:t>gleicher Höhe in die </a:t>
            </a:r>
            <a:br>
              <a:rPr lang="de-DE" sz="1200" kern="1200" dirty="0">
                <a:ea typeface="Yu Gothic Light" panose="020B0300000000000000" pitchFamily="34" charset="-128"/>
              </a:rPr>
            </a:br>
            <a:r>
              <a:rPr lang="de-DE" sz="1200" kern="1200" dirty="0">
                <a:ea typeface="Yu Gothic Light" panose="020B0300000000000000" pitchFamily="34" charset="-128"/>
              </a:rPr>
              <a:t>Altersrente über.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6C7DDBCC-E4C6-207F-5DFB-0F3296C209BB}"/>
              </a:ext>
            </a:extLst>
          </p:cNvPr>
          <p:cNvSpPr txBox="1"/>
          <p:nvPr/>
        </p:nvSpPr>
        <p:spPr>
          <a:xfrm>
            <a:off x="9910897" y="5027989"/>
            <a:ext cx="1371552" cy="5922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100" kern="1200" dirty="0">
                <a:ea typeface="Yu Gothic Light" panose="020B0300000000000000" pitchFamily="34" charset="-128"/>
              </a:rPr>
              <a:t>Halbe Erwerbs-</a:t>
            </a:r>
            <a:r>
              <a:rPr lang="de-DE" sz="1100" kern="1200" dirty="0" err="1">
                <a:ea typeface="Yu Gothic Light" panose="020B0300000000000000" pitchFamily="34" charset="-128"/>
              </a:rPr>
              <a:t>minderungsrente</a:t>
            </a:r>
            <a:endParaRPr lang="de-DE" sz="1100" kern="1200" dirty="0">
              <a:ea typeface="Yu Gothic Light" panose="020B0300000000000000" pitchFamily="34" charset="-128"/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A58D5C16-886B-4155-33F9-BB2C2A763327}"/>
              </a:ext>
            </a:extLst>
          </p:cNvPr>
          <p:cNvSpPr txBox="1"/>
          <p:nvPr/>
        </p:nvSpPr>
        <p:spPr>
          <a:xfrm>
            <a:off x="2554439" y="2099508"/>
            <a:ext cx="7145984" cy="60678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81A6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Es entsteht diese klein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Lücke von ca. 25%,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die normal nur vorübergehend ist.</a:t>
            </a:r>
          </a:p>
          <a:p>
            <a:pPr marL="0" marR="0" lvl="0" indent="0" algn="l" defTabSz="4572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81A6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Mit 3 Monatsgehältern geht das 12 Monate gut. 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F9AE4811-C7B2-669D-BE84-4388D35A3181}"/>
              </a:ext>
            </a:extLst>
          </p:cNvPr>
          <p:cNvCxnSpPr>
            <a:cxnSpLocks/>
          </p:cNvCxnSpPr>
          <p:nvPr/>
        </p:nvCxnSpPr>
        <p:spPr>
          <a:xfrm>
            <a:off x="1983957" y="2099508"/>
            <a:ext cx="0" cy="632159"/>
          </a:xfrm>
          <a:prstGeom prst="straightConnector1">
            <a:avLst/>
          </a:prstGeom>
          <a:noFill/>
          <a:ln w="50800" cap="flat" cmpd="sng" algn="ctr">
            <a:solidFill>
              <a:srgbClr val="CE2828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C8752BED-B3F6-CBEA-3810-619A92F11423}"/>
              </a:ext>
            </a:extLst>
          </p:cNvPr>
          <p:cNvCxnSpPr/>
          <p:nvPr/>
        </p:nvCxnSpPr>
        <p:spPr>
          <a:xfrm>
            <a:off x="11038132" y="2106864"/>
            <a:ext cx="0" cy="2164829"/>
          </a:xfrm>
          <a:prstGeom prst="straightConnector1">
            <a:avLst/>
          </a:prstGeom>
          <a:noFill/>
          <a:ln w="50800" cap="flat" cmpd="sng" algn="ctr">
            <a:solidFill>
              <a:srgbClr val="CE2828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C820A32A-CF79-547B-7C51-AD1D8199A1F2}"/>
              </a:ext>
            </a:extLst>
          </p:cNvPr>
          <p:cNvCxnSpPr>
            <a:cxnSpLocks/>
          </p:cNvCxnSpPr>
          <p:nvPr/>
        </p:nvCxnSpPr>
        <p:spPr>
          <a:xfrm flipV="1">
            <a:off x="11010859" y="5243020"/>
            <a:ext cx="592507" cy="594128"/>
          </a:xfrm>
          <a:prstGeom prst="straightConnector1">
            <a:avLst/>
          </a:prstGeom>
          <a:noFill/>
          <a:ln w="63500" cap="flat" cmpd="sng" algn="ctr">
            <a:solidFill>
              <a:srgbClr val="CE2828"/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970436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as sind die richtigen Fragen?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25042B-519F-628F-2887-3D7244AEB0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07191" y="1779082"/>
            <a:ext cx="5616575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rabicPeriod"/>
            </a:pPr>
            <a:r>
              <a:rPr lang="de-DE" sz="1600" b="0" dirty="0"/>
              <a:t>Welche Lücken kannst du selbst tragen?</a:t>
            </a:r>
          </a:p>
          <a:p>
            <a:pPr marL="522900" lvl="2" indent="-342900">
              <a:buAutoNum type="arabicPeriod"/>
            </a:pPr>
            <a:r>
              <a:rPr lang="de-DE" sz="1200" dirty="0"/>
              <a:t>Welche Ausgaben hast du in welcher Höhe und für welchen Zeitraum?</a:t>
            </a:r>
          </a:p>
          <a:p>
            <a:pPr marL="522900" lvl="2" indent="-342900">
              <a:buAutoNum type="arabicPeriod"/>
            </a:pPr>
            <a:r>
              <a:rPr lang="de-DE" sz="1200" b="0" dirty="0"/>
              <a:t>Welche Ausgaben sind so wichtig, dass du sie nicht einsparen kannst oder willst?</a:t>
            </a:r>
          </a:p>
          <a:p>
            <a:pPr marL="342900" indent="-342900">
              <a:buAutoNum type="arabicPeriod"/>
            </a:pPr>
            <a:endParaRPr lang="de-DE" sz="1600" b="0" dirty="0"/>
          </a:p>
          <a:p>
            <a:pPr marL="342900" indent="-342900">
              <a:buAutoNum type="arabicPeriod"/>
            </a:pPr>
            <a:r>
              <a:rPr lang="de-DE" sz="1600" b="0" dirty="0"/>
              <a:t>Wie lange kannst du die Lücken selbst tragen?</a:t>
            </a:r>
          </a:p>
          <a:p>
            <a:pPr marL="522900" lvl="2" indent="-342900">
              <a:buAutoNum type="arabicPeriod"/>
            </a:pPr>
            <a:r>
              <a:rPr lang="de-DE" sz="1200" dirty="0"/>
              <a:t>Dauerhaft durch sonstige Einnahmen oder Einsparungen?</a:t>
            </a:r>
          </a:p>
          <a:p>
            <a:pPr marL="522900" lvl="2" indent="-342900">
              <a:buAutoNum type="arabicPeriod"/>
            </a:pPr>
            <a:r>
              <a:rPr lang="de-DE" sz="1200" b="0" dirty="0"/>
              <a:t>Begrenzt durch Rücklagen?</a:t>
            </a:r>
          </a:p>
          <a:p>
            <a:pPr marL="342900" indent="-342900">
              <a:buAutoNum type="arabicPeriod"/>
            </a:pPr>
            <a:r>
              <a:rPr lang="de-DE" sz="1600" b="0" dirty="0"/>
              <a:t>Willst du die Lücken selbst tragen?</a:t>
            </a:r>
          </a:p>
          <a:p>
            <a:pPr marL="342900" indent="-342900">
              <a:buAutoNum type="arabicPeriod"/>
            </a:pPr>
            <a:r>
              <a:rPr lang="de-DE" sz="1600" b="0" dirty="0"/>
              <a:t>Können dir durch eine gesundheitliche Einschränkung in deiner Freizeit neue Ausgaben entstehen? (Umbau im Haus, Haus- oder Gartenarbeiten, Pflege von Tieren…) </a:t>
            </a:r>
          </a:p>
          <a:p>
            <a:pPr marL="342900" indent="-342900">
              <a:buAutoNum type="arabicPeriod"/>
            </a:pPr>
            <a:endParaRPr lang="de-DE" sz="1600" dirty="0"/>
          </a:p>
        </p:txBody>
      </p:sp>
      <p:pic>
        <p:nvPicPr>
          <p:cNvPr id="9" name="Bildplatzhalter 8" descr="Ein Bild, das Kleidung, Gebäude, Computer, computer enthält.&#10;&#10;Automatisch generierte Beschreibung">
            <a:extLst>
              <a:ext uri="{FF2B5EF4-FFF2-40B4-BE49-F238E27FC236}">
                <a16:creationId xmlns:a16="http://schemas.microsoft.com/office/drawing/2014/main" id="{7BAA3ED5-517C-F525-1ECD-8C5EFAD9715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21247" r="2124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7111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ann ist die BUV die Lösung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12" name="Bildplatzhalter 11" descr="Ein Bild, das Himmel, solar, draußen, Solarenergie enthält.&#10;&#10;Automatisch generierte Beschreibung">
            <a:extLst>
              <a:ext uri="{FF2B5EF4-FFF2-40B4-BE49-F238E27FC236}">
                <a16:creationId xmlns:a16="http://schemas.microsoft.com/office/drawing/2014/main" id="{09127ED1-D4AE-E7CA-C7BD-7EDDB16587F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1486" b="148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7229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Was kann die Berufsunfähigkeitsversicherung?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Berufsunfähigkeitsversicherung als Lösung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Wer 6 Monate überbrücken kann, sich nicht auf eine Auswahl an Krankheiten beschränken will und sich eine Umschulung nicht leisten kann oder will, der braucht eine BU-Versicherung. 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146B3FA4-F420-F2B6-99F7-4C76B17A83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8867081"/>
              </p:ext>
            </p:extLst>
          </p:nvPr>
        </p:nvGraphicFramePr>
        <p:xfrm>
          <a:off x="479425" y="3164566"/>
          <a:ext cx="8128000" cy="312287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09274020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890509459"/>
                    </a:ext>
                  </a:extLst>
                </a:gridCol>
              </a:tblGrid>
              <a:tr h="638753">
                <a:tc>
                  <a:txBody>
                    <a:bodyPr/>
                    <a:lstStyle/>
                    <a:p>
                      <a:endParaRPr lang="de-DE" dirty="0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>
                        <a:latin typeface="Yu Gothic Light" panose="020B0300000000000000" pitchFamily="34" charset="-128"/>
                        <a:ea typeface="Yu Gothic Light" panose="020B0300000000000000" pitchFamily="34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8877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, wenn ich meinen Beruf aus gesundheitlichen Gründen nur noch zur Hälfte ausüben kan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erst, wenn die Einschränkung mindestens </a:t>
                      </a:r>
                    </a:p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6 Monate daue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6915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Leistet rückwirkend, wenn die Leistung anerkannt wi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Absicherung bis 100% nur schwierig mögli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7497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Psychische Erkrankungen sind mitversich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Der Nachweis des Leistungsfalls ist komplizie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5237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Es gibt keine Einschränkungen bei versicherten Krankhei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Für viele Berufe teu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023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Einfacher Nachweis des Leistungsfalls für einen begrenzten Zeitraum mög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Für viele Berufe eine strenge Gesundheitsprüf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6510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+mn-lt"/>
                          <a:ea typeface="Yu Gothic Light" panose="020B0300000000000000" pitchFamily="34" charset="-128"/>
                        </a:rPr>
                        <a:t>Abstrakte Verweisung nicht mög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>
                        <a:latin typeface="+mn-lt"/>
                        <a:ea typeface="Yu Gothic Light" panose="020B0300000000000000" pitchFamily="34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3405981"/>
                  </a:ext>
                </a:extLst>
              </a:tr>
            </a:tbl>
          </a:graphicData>
        </a:graphic>
      </p:graphicFrame>
      <p:pic>
        <p:nvPicPr>
          <p:cNvPr id="6" name="Grafik 5" descr="&quot;Daumen hoch&quot;-Zeichen">
            <a:extLst>
              <a:ext uri="{FF2B5EF4-FFF2-40B4-BE49-F238E27FC236}">
                <a16:creationId xmlns:a16="http://schemas.microsoft.com/office/drawing/2014/main" id="{0ECE8736-8432-1373-7A60-89C52720FA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28850" y="3164566"/>
            <a:ext cx="619125" cy="619125"/>
          </a:xfrm>
          <a:prstGeom prst="rect">
            <a:avLst/>
          </a:prstGeom>
        </p:spPr>
      </p:pic>
      <p:pic>
        <p:nvPicPr>
          <p:cNvPr id="7" name="Grafik 6" descr="&quot;Daumen hoch&quot;-Zeichen">
            <a:extLst>
              <a:ext uri="{FF2B5EF4-FFF2-40B4-BE49-F238E27FC236}">
                <a16:creationId xmlns:a16="http://schemas.microsoft.com/office/drawing/2014/main" id="{D0135A32-C055-55F6-928D-A171DB4204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6238877" y="3164566"/>
            <a:ext cx="619125" cy="619125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38E625D-0663-78D8-813E-381E3F6313DE}"/>
              </a:ext>
            </a:extLst>
          </p:cNvPr>
          <p:cNvGrpSpPr>
            <a:grpSpLocks noChangeAspect="1"/>
          </p:cNvGrpSpPr>
          <p:nvPr/>
        </p:nvGrpSpPr>
        <p:grpSpPr>
          <a:xfrm>
            <a:off x="9181881" y="3587386"/>
            <a:ext cx="2530694" cy="2530698"/>
            <a:chOff x="6454086" y="5186778"/>
            <a:chExt cx="684321" cy="684322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21FF63F2-CF6C-D29A-56BF-62CC1DC0C514}"/>
                </a:ext>
              </a:extLst>
            </p:cNvPr>
            <p:cNvSpPr/>
            <p:nvPr/>
          </p:nvSpPr>
          <p:spPr>
            <a:xfrm>
              <a:off x="6454086" y="5186778"/>
              <a:ext cx="684321" cy="684322"/>
            </a:xfrm>
            <a:custGeom>
              <a:avLst/>
              <a:gdLst>
                <a:gd name="connsiteX0" fmla="*/ 684322 w 684321"/>
                <a:gd name="connsiteY0" fmla="*/ 342161 h 684322"/>
                <a:gd name="connsiteX1" fmla="*/ 342161 w 684321"/>
                <a:gd name="connsiteY1" fmla="*/ 684322 h 684322"/>
                <a:gd name="connsiteX2" fmla="*/ 0 w 684321"/>
                <a:gd name="connsiteY2" fmla="*/ 342161 h 684322"/>
                <a:gd name="connsiteX3" fmla="*/ 342161 w 684321"/>
                <a:gd name="connsiteY3" fmla="*/ 0 h 684322"/>
                <a:gd name="connsiteX4" fmla="*/ 342483 w 684321"/>
                <a:gd name="connsiteY4" fmla="*/ 0 h 684322"/>
                <a:gd name="connsiteX5" fmla="*/ 684322 w 684321"/>
                <a:gd name="connsiteY5" fmla="*/ 342161 h 68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4321" h="684322">
                  <a:moveTo>
                    <a:pt x="684322" y="342161"/>
                  </a:moveTo>
                  <a:cubicBezTo>
                    <a:pt x="684322" y="531132"/>
                    <a:pt x="531131" y="684322"/>
                    <a:pt x="342161" y="684322"/>
                  </a:cubicBezTo>
                  <a:cubicBezTo>
                    <a:pt x="153190" y="684322"/>
                    <a:pt x="0" y="531131"/>
                    <a:pt x="0" y="342161"/>
                  </a:cubicBezTo>
                  <a:cubicBezTo>
                    <a:pt x="0" y="153190"/>
                    <a:pt x="153191" y="0"/>
                    <a:pt x="342161" y="0"/>
                  </a:cubicBezTo>
                  <a:cubicBezTo>
                    <a:pt x="342268" y="0"/>
                    <a:pt x="342376" y="0"/>
                    <a:pt x="342483" y="0"/>
                  </a:cubicBezTo>
                  <a:cubicBezTo>
                    <a:pt x="531327" y="178"/>
                    <a:pt x="684322" y="153317"/>
                    <a:pt x="684322" y="342161"/>
                  </a:cubicBezTo>
                </a:path>
              </a:pathLst>
            </a:custGeom>
            <a:noFill/>
            <a:ln w="571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B07F39D7-8425-2471-8CCB-F87121467A55}"/>
                </a:ext>
              </a:extLst>
            </p:cNvPr>
            <p:cNvSpPr/>
            <p:nvPr/>
          </p:nvSpPr>
          <p:spPr>
            <a:xfrm>
              <a:off x="6863359" y="5521309"/>
              <a:ext cx="121591" cy="175960"/>
            </a:xfrm>
            <a:custGeom>
              <a:avLst/>
              <a:gdLst>
                <a:gd name="connsiteX0" fmla="*/ 0 w 121591"/>
                <a:gd name="connsiteY0" fmla="*/ 108057 h 175960"/>
                <a:gd name="connsiteX1" fmla="*/ 66308 w 121591"/>
                <a:gd name="connsiteY1" fmla="*/ 108057 h 175960"/>
                <a:gd name="connsiteX2" fmla="*/ 0 w 121591"/>
                <a:gd name="connsiteY2" fmla="*/ 67822 h 175960"/>
                <a:gd name="connsiteX3" fmla="*/ 66308 w 121591"/>
                <a:gd name="connsiteY3" fmla="*/ 67822 h 175960"/>
                <a:gd name="connsiteX4" fmla="*/ 121591 w 121591"/>
                <a:gd name="connsiteY4" fmla="*/ 126888 h 175960"/>
                <a:gd name="connsiteX5" fmla="*/ 68505 w 121591"/>
                <a:gd name="connsiteY5" fmla="*/ 175919 h 175960"/>
                <a:gd name="connsiteX6" fmla="*/ 19474 w 121591"/>
                <a:gd name="connsiteY6" fmla="*/ 126888 h 175960"/>
                <a:gd name="connsiteX7" fmla="*/ 19474 w 121591"/>
                <a:gd name="connsiteY7" fmla="*/ 49072 h 175960"/>
                <a:gd name="connsiteX8" fmla="*/ 72560 w 121591"/>
                <a:gd name="connsiteY8" fmla="*/ 41 h 175960"/>
                <a:gd name="connsiteX9" fmla="*/ 121591 w 121591"/>
                <a:gd name="connsiteY9" fmla="*/ 49072 h 17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591" h="175960">
                  <a:moveTo>
                    <a:pt x="0" y="108057"/>
                  </a:moveTo>
                  <a:lnTo>
                    <a:pt x="66308" y="108057"/>
                  </a:lnTo>
                  <a:moveTo>
                    <a:pt x="0" y="67822"/>
                  </a:moveTo>
                  <a:lnTo>
                    <a:pt x="66308" y="67822"/>
                  </a:lnTo>
                  <a:moveTo>
                    <a:pt x="121591" y="126888"/>
                  </a:moveTo>
                  <a:cubicBezTo>
                    <a:pt x="120472" y="155086"/>
                    <a:pt x="96704" y="177038"/>
                    <a:pt x="68505" y="175919"/>
                  </a:cubicBezTo>
                  <a:cubicBezTo>
                    <a:pt x="41876" y="174862"/>
                    <a:pt x="20531" y="153516"/>
                    <a:pt x="19474" y="126888"/>
                  </a:cubicBezTo>
                  <a:lnTo>
                    <a:pt x="19474" y="49072"/>
                  </a:lnTo>
                  <a:cubicBezTo>
                    <a:pt x="20593" y="20874"/>
                    <a:pt x="44361" y="-1078"/>
                    <a:pt x="72560" y="41"/>
                  </a:cubicBezTo>
                  <a:cubicBezTo>
                    <a:pt x="99189" y="1098"/>
                    <a:pt x="120534" y="22444"/>
                    <a:pt x="121591" y="49072"/>
                  </a:cubicBezTo>
                </a:path>
              </a:pathLst>
            </a:custGeom>
            <a:noFill/>
            <a:ln w="57150" cap="rnd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007341E1-5962-40F5-58A3-919D422FCE0B}"/>
                </a:ext>
              </a:extLst>
            </p:cNvPr>
            <p:cNvSpPr/>
            <p:nvPr/>
          </p:nvSpPr>
          <p:spPr>
            <a:xfrm>
              <a:off x="6753356" y="5586234"/>
              <a:ext cx="59870" cy="97852"/>
            </a:xfrm>
            <a:custGeom>
              <a:avLst/>
              <a:gdLst>
                <a:gd name="connsiteX0" fmla="*/ 0 w 59870"/>
                <a:gd name="connsiteY0" fmla="*/ 97852 h 97852"/>
                <a:gd name="connsiteX1" fmla="*/ 14565 w 59870"/>
                <a:gd name="connsiteY1" fmla="*/ 0 h 97852"/>
                <a:gd name="connsiteX2" fmla="*/ 45305 w 59870"/>
                <a:gd name="connsiteY2" fmla="*/ 0 h 97852"/>
                <a:gd name="connsiteX3" fmla="*/ 59870 w 59870"/>
                <a:gd name="connsiteY3" fmla="*/ 97852 h 97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70" h="97852">
                  <a:moveTo>
                    <a:pt x="0" y="97852"/>
                  </a:moveTo>
                  <a:lnTo>
                    <a:pt x="14565" y="0"/>
                  </a:lnTo>
                  <a:lnTo>
                    <a:pt x="45305" y="0"/>
                  </a:lnTo>
                  <a:lnTo>
                    <a:pt x="59870" y="97852"/>
                  </a:lnTo>
                </a:path>
              </a:pathLst>
            </a:custGeom>
            <a:noFill/>
            <a:ln w="571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D93379D-3E60-EF32-8302-AD903C785427}"/>
                </a:ext>
              </a:extLst>
            </p:cNvPr>
            <p:cNvSpPr/>
            <p:nvPr/>
          </p:nvSpPr>
          <p:spPr>
            <a:xfrm>
              <a:off x="6639490" y="5344985"/>
              <a:ext cx="247295" cy="340078"/>
            </a:xfrm>
            <a:custGeom>
              <a:avLst/>
              <a:gdLst>
                <a:gd name="connsiteX0" fmla="*/ 246160 w 247295"/>
                <a:gd name="connsiteY0" fmla="*/ 214050 h 340078"/>
                <a:gd name="connsiteX1" fmla="*/ 202544 w 247295"/>
                <a:gd name="connsiteY1" fmla="*/ 189427 h 340078"/>
                <a:gd name="connsiteX2" fmla="*/ 228767 w 247295"/>
                <a:gd name="connsiteY2" fmla="*/ 44751 h 340078"/>
                <a:gd name="connsiteX3" fmla="*/ 84092 w 247295"/>
                <a:gd name="connsiteY3" fmla="*/ 18528 h 340078"/>
                <a:gd name="connsiteX4" fmla="*/ 57869 w 247295"/>
                <a:gd name="connsiteY4" fmla="*/ 163204 h 340078"/>
                <a:gd name="connsiteX5" fmla="*/ 84092 w 247295"/>
                <a:gd name="connsiteY5" fmla="*/ 189427 h 340078"/>
                <a:gd name="connsiteX6" fmla="*/ 0 w 247295"/>
                <a:gd name="connsiteY6" fmla="*/ 259275 h 340078"/>
                <a:gd name="connsiteX7" fmla="*/ 229205 w 247295"/>
                <a:gd name="connsiteY7" fmla="*/ 316084 h 340078"/>
                <a:gd name="connsiteX8" fmla="*/ 245596 w 247295"/>
                <a:gd name="connsiteY8" fmla="*/ 304821 h 34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295" h="340078">
                  <a:moveTo>
                    <a:pt x="246160" y="214050"/>
                  </a:moveTo>
                  <a:cubicBezTo>
                    <a:pt x="232937" y="203704"/>
                    <a:pt x="218235" y="195403"/>
                    <a:pt x="202544" y="189427"/>
                  </a:cubicBezTo>
                  <a:cubicBezTo>
                    <a:pt x="249736" y="156717"/>
                    <a:pt x="261477" y="91943"/>
                    <a:pt x="228767" y="44751"/>
                  </a:cubicBezTo>
                  <a:cubicBezTo>
                    <a:pt x="196058" y="-2441"/>
                    <a:pt x="131284" y="-14182"/>
                    <a:pt x="84092" y="18528"/>
                  </a:cubicBezTo>
                  <a:cubicBezTo>
                    <a:pt x="36900" y="51238"/>
                    <a:pt x="25159" y="116011"/>
                    <a:pt x="57869" y="163204"/>
                  </a:cubicBezTo>
                  <a:cubicBezTo>
                    <a:pt x="64968" y="173445"/>
                    <a:pt x="73850" y="182327"/>
                    <a:pt x="84092" y="189427"/>
                  </a:cubicBezTo>
                  <a:cubicBezTo>
                    <a:pt x="49097" y="202749"/>
                    <a:pt x="19517" y="227318"/>
                    <a:pt x="0" y="259275"/>
                  </a:cubicBezTo>
                  <a:cubicBezTo>
                    <a:pt x="47606" y="338255"/>
                    <a:pt x="150225" y="363690"/>
                    <a:pt x="229205" y="316084"/>
                  </a:cubicBezTo>
                  <a:cubicBezTo>
                    <a:pt x="234888" y="312658"/>
                    <a:pt x="240361" y="308898"/>
                    <a:pt x="245596" y="304821"/>
                  </a:cubicBezTo>
                </a:path>
              </a:pathLst>
            </a:custGeom>
            <a:noFill/>
            <a:ln w="5715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CF9ED452-0D55-D3CF-B094-3D4E084D9CCD}"/>
                </a:ext>
              </a:extLst>
            </p:cNvPr>
            <p:cNvSpPr/>
            <p:nvPr/>
          </p:nvSpPr>
          <p:spPr>
            <a:xfrm>
              <a:off x="6749010" y="5542539"/>
              <a:ext cx="67595" cy="43695"/>
            </a:xfrm>
            <a:custGeom>
              <a:avLst/>
              <a:gdLst>
                <a:gd name="connsiteX0" fmla="*/ 0 w 67595"/>
                <a:gd name="connsiteY0" fmla="*/ 0 h 43695"/>
                <a:gd name="connsiteX1" fmla="*/ 67595 w 67595"/>
                <a:gd name="connsiteY1" fmla="*/ 0 h 43695"/>
                <a:gd name="connsiteX2" fmla="*/ 49168 w 67595"/>
                <a:gd name="connsiteY2" fmla="*/ 43696 h 43695"/>
                <a:gd name="connsiteX3" fmla="*/ 18428 w 67595"/>
                <a:gd name="connsiteY3" fmla="*/ 43696 h 43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595" h="43695">
                  <a:moveTo>
                    <a:pt x="0" y="0"/>
                  </a:moveTo>
                  <a:cubicBezTo>
                    <a:pt x="22009" y="6867"/>
                    <a:pt x="45587" y="6867"/>
                    <a:pt x="67595" y="0"/>
                  </a:cubicBezTo>
                  <a:lnTo>
                    <a:pt x="49168" y="43696"/>
                  </a:lnTo>
                  <a:lnTo>
                    <a:pt x="18428" y="43696"/>
                  </a:lnTo>
                  <a:close/>
                </a:path>
              </a:pathLst>
            </a:custGeom>
            <a:noFill/>
            <a:ln w="571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4452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as, wenn die BU-Versicherung nicht geht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16" name="Bildplatzhalter 15" descr="Ein Bild, das draußen, Himmel, Traktor, Gelände enthält.&#10;&#10;Automatisch generierte Beschreibung">
            <a:extLst>
              <a:ext uri="{FF2B5EF4-FFF2-40B4-BE49-F238E27FC236}">
                <a16:creationId xmlns:a16="http://schemas.microsoft.com/office/drawing/2014/main" id="{272A8676-FEA0-86C2-ADAD-1517EA3D0A4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87" b="908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70938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Warum kann der Kunde keine BU-Versicherung abschließen?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Die Berufsunfähigkeitsversicherung als Lösung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682440"/>
            <a:ext cx="721328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Zu krank </a:t>
            </a:r>
            <a:r>
              <a:rPr lang="de-DE" sz="1600" b="0" dirty="0">
                <a:sym typeface="Wingdings" panose="05000000000000000000" pitchFamily="2" charset="2"/>
              </a:rPr>
              <a:t> Anonyme Voranfrage und/oder vereinfachte Gesundheitsprüfungen prüfen. Im schlimmsten Fall soll der Kunde seinen Arbeitgeber fragen, ob es eine Lösung über die betriebliche Altersvorsorge gibt. Die Grundfähigkeitsversicherung kann eine Notlösung sein. </a:t>
            </a: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Zu teuer  Berufsbild, Laufzeit und Versicherungsumfang prüfen. Die Rentenhöhe würde ich nicht anfassen. Aber wenn eine Umschulung mit dem Geld auf der Seite finanziert werden kann, ist eine Erwerbsunfähigkeitsversicherung eine Idee.</a:t>
            </a:r>
            <a:endParaRPr lang="de-DE" sz="1200" b="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Zu kompliziert  Ich erklär es nochmal: „Kannst du von 40% deines Gehalts leben? Und bist du immun gegen Krebs?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>
              <a:sym typeface="Wingdings" panose="05000000000000000000" pitchFamily="2" charset="2"/>
            </a:endParaRPr>
          </a:p>
          <a:p>
            <a:endParaRPr lang="de-DE" sz="1600" b="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>
              <a:sym typeface="Wingdings" panose="05000000000000000000" pitchFamily="2" charset="2"/>
            </a:endParaRPr>
          </a:p>
          <a:p>
            <a:endParaRPr lang="de-DE" sz="800" b="0" dirty="0"/>
          </a:p>
          <a:p>
            <a:endParaRPr lang="de-DE" sz="1600" b="0" dirty="0"/>
          </a:p>
          <a:p>
            <a:endParaRPr lang="de-DE" sz="1600" b="0" dirty="0"/>
          </a:p>
        </p:txBody>
      </p:sp>
      <p:pic>
        <p:nvPicPr>
          <p:cNvPr id="6" name="Grafik 5" descr="Ein Bild, das Symbol, Grafiken, Kreis, Logo enthält.&#10;&#10;Automatisch generierte Beschreibung">
            <a:extLst>
              <a:ext uri="{FF2B5EF4-FFF2-40B4-BE49-F238E27FC236}">
                <a16:creationId xmlns:a16="http://schemas.microsoft.com/office/drawing/2014/main" id="{416E3365-0751-B22B-3D85-2B7D81BF4E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62417" y="3847843"/>
            <a:ext cx="1116002" cy="1116002"/>
          </a:xfrm>
          <a:prstGeom prst="rect">
            <a:avLst/>
          </a:prstGeom>
        </p:spPr>
      </p:pic>
      <p:pic>
        <p:nvPicPr>
          <p:cNvPr id="8" name="Grafik 7" descr="Ein Bild, das Kreis, Symbol, Grafiken, Logo enthält.&#10;&#10;Automatisch generierte Beschreibung">
            <a:extLst>
              <a:ext uri="{FF2B5EF4-FFF2-40B4-BE49-F238E27FC236}">
                <a16:creationId xmlns:a16="http://schemas.microsoft.com/office/drawing/2014/main" id="{1FC583E3-B6AF-E1F1-3C6C-081300F941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8419" y="2731841"/>
            <a:ext cx="1116002" cy="1116002"/>
          </a:xfrm>
          <a:prstGeom prst="rect">
            <a:avLst/>
          </a:prstGeom>
        </p:spPr>
      </p:pic>
      <p:pic>
        <p:nvPicPr>
          <p:cNvPr id="11" name="Grafik 10" descr="Ein Bild, das Kreis, Grafiken, Schrift, Logo enthält.&#10;&#10;Automatisch generierte Beschreibung">
            <a:extLst>
              <a:ext uri="{FF2B5EF4-FFF2-40B4-BE49-F238E27FC236}">
                <a16:creationId xmlns:a16="http://schemas.microsoft.com/office/drawing/2014/main" id="{56BE0B1D-7D39-6E72-E46B-0B7619DF9A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62417" y="1615839"/>
            <a:ext cx="1116002" cy="1116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36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nn eine Alternative besser passt…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8" name="Bildplatzhalter 7" descr="Ein Bild, das Kleidung, Person, Bautechnik, Blue Collar enthält.&#10;&#10;Automatisch generierte Beschreibung">
            <a:extLst>
              <a:ext uri="{FF2B5EF4-FFF2-40B4-BE49-F238E27FC236}">
                <a16:creationId xmlns:a16="http://schemas.microsoft.com/office/drawing/2014/main" id="{85A42501-8843-EC1F-D3A8-938E0B10F96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70" b="907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37636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9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Fonds Finanz">
  <a:themeElements>
    <a:clrScheme name="Fonds_Finanz_Colors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Fond_Finanz_Colors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108000" tIns="72000" rIns="108000" bIns="72000" rtlCol="0" anchor="t"/>
      <a:lstStyle>
        <a:defPPr algn="l">
          <a:defRPr sz="16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>
          <a:solidFill>
            <a:srgbClr val="2F4D72"/>
          </a:solidFill>
          <a:prstDash val="solid"/>
          <a:miter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tx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Nachhaltigkeit Hellgrün">
      <a:srgbClr val="87B24C"/>
    </a:custClr>
    <a:custClr name="Nachhaltigkeit Dunkelgrün">
      <a:srgbClr val="59774D"/>
    </a:custClr>
    <a:custClr name="Warnsignal">
      <a:srgbClr val="CE2828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FF_PPT-Vorlagen_Jun02.pptx  -  Schreibgeschützt" id="{7C14F8C8-09AF-4700-A434-D8D6B2D5A298}" vid="{DFA0DBF9-92F9-4C01-BCA6-E306B7085992}"/>
    </a:ext>
  </a:extLst>
</a:theme>
</file>

<file path=ppt/theme/theme2.xml><?xml version="1.0" encoding="utf-8"?>
<a:theme xmlns:a="http://schemas.openxmlformats.org/drawingml/2006/main" name="Office">
  <a:themeElements>
    <a:clrScheme name="Farben fondsfinanz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Schriften fondsfinanz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arben fondsfinanz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Schriften fondsfinanz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F_PPT-Vorlagen_Jun02</Template>
  <TotalTime>0</TotalTime>
  <Words>1184</Words>
  <Application>Microsoft Office PowerPoint</Application>
  <PresentationFormat>Breitbild</PresentationFormat>
  <Paragraphs>143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2" baseType="lpstr">
      <vt:lpstr>Wingdings</vt:lpstr>
      <vt:lpstr>PT Sans</vt:lpstr>
      <vt:lpstr>Yu Gothic Light</vt:lpstr>
      <vt:lpstr>Arial</vt:lpstr>
      <vt:lpstr>Master Fonds Finanz</vt:lpstr>
      <vt:lpstr>think-cell Folie</vt:lpstr>
      <vt:lpstr>Produktlösungen</vt:lpstr>
      <vt:lpstr>  </vt:lpstr>
      <vt:lpstr>Was ist nochmal das Problem?</vt:lpstr>
      <vt:lpstr>Was sind die richtigen Fragen? </vt:lpstr>
      <vt:lpstr>  </vt:lpstr>
      <vt:lpstr>Was kann die Berufsunfähigkeitsversicherung?</vt:lpstr>
      <vt:lpstr>  </vt:lpstr>
      <vt:lpstr>Warum kann der Kunde keine BU-Versicherung abschließen?</vt:lpstr>
      <vt:lpstr>  </vt:lpstr>
      <vt:lpstr>Die Erwerbsunfähigkeitsversicherung </vt:lpstr>
      <vt:lpstr>Das Krankentagegeld </vt:lpstr>
      <vt:lpstr>Die Grundfähigkeitsversicherung</vt:lpstr>
      <vt:lpstr>Das Pflegetagegeld</vt:lpstr>
      <vt:lpstr>Die Dread Disease oder Schwere-Krankheiten-Versicherung</vt:lpstr>
      <vt:lpstr>Was sind die wichtigsten Fragen?</vt:lpstr>
      <vt:lpstr>Herzlichen Dan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rauf musst du bei BU-Bedingungen achten!</dc:title>
  <dc:creator>Philip Wenzel</dc:creator>
  <cp:lastModifiedBy>Folke Bachmann</cp:lastModifiedBy>
  <cp:revision>8</cp:revision>
  <dcterms:created xsi:type="dcterms:W3CDTF">2024-01-16T07:21:00Z</dcterms:created>
  <dcterms:modified xsi:type="dcterms:W3CDTF">2024-07-12T13:12:21Z</dcterms:modified>
</cp:coreProperties>
</file>